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3" r:id="rId3"/>
    <p:sldId id="264" r:id="rId4"/>
    <p:sldId id="265" r:id="rId5"/>
    <p:sldId id="266" r:id="rId6"/>
    <p:sldId id="271" r:id="rId7"/>
    <p:sldId id="267" r:id="rId8"/>
    <p:sldId id="269" r:id="rId9"/>
    <p:sldId id="268" r:id="rId10"/>
    <p:sldId id="270" r:id="rId11"/>
  </p:sldIdLst>
  <p:sldSz cx="9144000" cy="6858000" type="screen4x3"/>
  <p:notesSz cx="6858000" cy="9144000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4C2D9E8-463D-4064-A23E-1D1A7E36C271}">
          <p14:sldIdLst>
            <p14:sldId id="256"/>
            <p14:sldId id="263"/>
            <p14:sldId id="264"/>
            <p14:sldId id="265"/>
            <p14:sldId id="266"/>
            <p14:sldId id="271"/>
            <p14:sldId id="267"/>
            <p14:sldId id="269"/>
            <p14:sldId id="268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na D" initials="AD" lastIdx="1" clrIdx="0">
    <p:extLst>
      <p:ext uri="{19B8F6BF-5375-455C-9EA6-DF929625EA0E}">
        <p15:presenceInfo xmlns:p15="http://schemas.microsoft.com/office/powerpoint/2012/main" userId="24a60029abdc116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1C26"/>
    <a:srgbClr val="F5A300"/>
    <a:srgbClr val="FDCA00"/>
    <a:srgbClr val="312C8C"/>
    <a:srgbClr val="000000"/>
    <a:srgbClr val="B5B5B5"/>
    <a:srgbClr val="E95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B885B0-7DDD-40D5-9AC7-E0D47B22B6DA}" v="272" dt="2018-05-23T13:52:35.3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69496" autoAdjust="0"/>
  </p:normalViewPr>
  <p:slideViewPr>
    <p:cSldViewPr snapToObjects="1">
      <p:cViewPr varScale="1">
        <p:scale>
          <a:sx n="54" d="100"/>
          <a:sy n="54" d="100"/>
        </p:scale>
        <p:origin x="1663" y="41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0" d="100"/>
          <a:sy n="60" d="100"/>
        </p:scale>
        <p:origin x="2539" y="4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na D" userId="24a60029abdc116d" providerId="LiveId" clId="{162D3661-38AC-43C0-9102-0FF0CDDBDC47}"/>
    <pc:docChg chg="undo custSel addSld delSld modSld sldOrd addMainMaster delMainMaster modMainMaster modSection">
      <pc:chgData name="Alina D" userId="24a60029abdc116d" providerId="LiveId" clId="{162D3661-38AC-43C0-9102-0FF0CDDBDC47}" dt="2018-05-01T14:31:48.321" v="23515" actId="20577"/>
      <pc:docMkLst>
        <pc:docMk/>
      </pc:docMkLst>
      <pc:sldChg chg="delSp modSp">
        <pc:chgData name="Alina D" userId="24a60029abdc116d" providerId="LiveId" clId="{162D3661-38AC-43C0-9102-0FF0CDDBDC47}" dt="2018-04-29T12:02:09.758" v="8225" actId="1076"/>
        <pc:sldMkLst>
          <pc:docMk/>
          <pc:sldMk cId="1540914908" sldId="256"/>
        </pc:sldMkLst>
        <pc:spChg chg="del">
          <ac:chgData name="Alina D" userId="24a60029abdc116d" providerId="LiveId" clId="{162D3661-38AC-43C0-9102-0FF0CDDBDC47}" dt="2018-04-29T12:02:05.163" v="8224" actId="478"/>
          <ac:spMkLst>
            <pc:docMk/>
            <pc:sldMk cId="1540914908" sldId="256"/>
            <ac:spMk id="2" creationId="{A029208F-FD3C-43DE-A33E-5CB60273D27E}"/>
          </ac:spMkLst>
        </pc:spChg>
        <pc:spChg chg="mod">
          <ac:chgData name="Alina D" userId="24a60029abdc116d" providerId="LiveId" clId="{162D3661-38AC-43C0-9102-0FF0CDDBDC47}" dt="2018-04-29T12:02:09.758" v="8225" actId="1076"/>
          <ac:spMkLst>
            <pc:docMk/>
            <pc:sldMk cId="1540914908" sldId="256"/>
            <ac:spMk id="3" creationId="{31FB0636-570B-4EBE-B3EB-D3689F9D4734}"/>
          </ac:spMkLst>
        </pc:spChg>
      </pc:sldChg>
      <pc:sldChg chg="addSp delSp modSp">
        <pc:chgData name="Alina D" userId="24a60029abdc116d" providerId="LiveId" clId="{162D3661-38AC-43C0-9102-0FF0CDDBDC47}" dt="2018-04-29T12:25:26.095" v="13292" actId="20577"/>
        <pc:sldMkLst>
          <pc:docMk/>
          <pc:sldMk cId="1943975763" sldId="263"/>
        </pc:sldMkLst>
        <pc:spChg chg="del mod ord">
          <ac:chgData name="Alina D" userId="24a60029abdc116d" providerId="LiveId" clId="{162D3661-38AC-43C0-9102-0FF0CDDBDC47}" dt="2018-04-29T11:57:58.508" v="3805" actId="478"/>
          <ac:spMkLst>
            <pc:docMk/>
            <pc:sldMk cId="1943975763" sldId="263"/>
            <ac:spMk id="2" creationId="{479F8F26-4B56-475B-81A8-CE7E0D259E19}"/>
          </ac:spMkLst>
        </pc:spChg>
        <pc:spChg chg="del mod ord">
          <ac:chgData name="Alina D" userId="24a60029abdc116d" providerId="LiveId" clId="{162D3661-38AC-43C0-9102-0FF0CDDBDC47}" dt="2018-04-29T11:57:58.508" v="3806" actId="478"/>
          <ac:spMkLst>
            <pc:docMk/>
            <pc:sldMk cId="1943975763" sldId="263"/>
            <ac:spMk id="3" creationId="{67A4DA49-6A94-4B20-8A6E-185CE46335CF}"/>
          </ac:spMkLst>
        </pc:spChg>
        <pc:spChg chg="del mod ord">
          <ac:chgData name="Alina D" userId="24a60029abdc116d" providerId="LiveId" clId="{162D3661-38AC-43C0-9102-0FF0CDDBDC47}" dt="2018-04-29T11:57:58.508" v="3807" actId="478"/>
          <ac:spMkLst>
            <pc:docMk/>
            <pc:sldMk cId="1943975763" sldId="263"/>
            <ac:spMk id="4" creationId="{29BFA818-D40B-47A0-84A5-87AE837E50FD}"/>
          </ac:spMkLst>
        </pc:spChg>
        <pc:spChg chg="del mod ord">
          <ac:chgData name="Alina D" userId="24a60029abdc116d" providerId="LiveId" clId="{162D3661-38AC-43C0-9102-0FF0CDDBDC47}" dt="2018-04-29T11:57:58.508" v="3808" actId="478"/>
          <ac:spMkLst>
            <pc:docMk/>
            <pc:sldMk cId="1943975763" sldId="263"/>
            <ac:spMk id="5" creationId="{30E98AE6-27CF-479B-B67C-ED2766482351}"/>
          </ac:spMkLst>
        </pc:spChg>
        <pc:spChg chg="del mod ord">
          <ac:chgData name="Alina D" userId="24a60029abdc116d" providerId="LiveId" clId="{162D3661-38AC-43C0-9102-0FF0CDDBDC47}" dt="2018-04-29T11:57:58.508" v="3809" actId="478"/>
          <ac:spMkLst>
            <pc:docMk/>
            <pc:sldMk cId="1943975763" sldId="263"/>
            <ac:spMk id="6" creationId="{A7E16B38-C60A-48C8-B5AA-4B31306B79A8}"/>
          </ac:spMkLst>
        </pc:spChg>
        <pc:spChg chg="del mod ord">
          <ac:chgData name="Alina D" userId="24a60029abdc116d" providerId="LiveId" clId="{162D3661-38AC-43C0-9102-0FF0CDDBDC47}" dt="2018-04-29T11:57:58.524" v="3810" actId="478"/>
          <ac:spMkLst>
            <pc:docMk/>
            <pc:sldMk cId="1943975763" sldId="263"/>
            <ac:spMk id="7" creationId="{275821B2-E1B0-4D59-9462-D859000B9B92}"/>
          </ac:spMkLst>
        </pc:spChg>
        <pc:spChg chg="del mod ord">
          <ac:chgData name="Alina D" userId="24a60029abdc116d" providerId="LiveId" clId="{162D3661-38AC-43C0-9102-0FF0CDDBDC47}" dt="2018-04-29T11:57:58.524" v="3811" actId="478"/>
          <ac:spMkLst>
            <pc:docMk/>
            <pc:sldMk cId="1943975763" sldId="263"/>
            <ac:spMk id="8" creationId="{9C260E32-82A7-4230-BB0C-364C89E61D18}"/>
          </ac:spMkLst>
        </pc:spChg>
        <pc:spChg chg="del mod ord">
          <ac:chgData name="Alina D" userId="24a60029abdc116d" providerId="LiveId" clId="{162D3661-38AC-43C0-9102-0FF0CDDBDC47}" dt="2018-04-29T11:57:58.524" v="3812" actId="478"/>
          <ac:spMkLst>
            <pc:docMk/>
            <pc:sldMk cId="1943975763" sldId="263"/>
            <ac:spMk id="9" creationId="{D1CFD699-FFFD-4738-A981-C765C6B0684A}"/>
          </ac:spMkLst>
        </pc:spChg>
        <pc:spChg chg="del mod ord">
          <ac:chgData name="Alina D" userId="24a60029abdc116d" providerId="LiveId" clId="{162D3661-38AC-43C0-9102-0FF0CDDBDC47}" dt="2018-04-29T11:57:58.525" v="3813" actId="478"/>
          <ac:spMkLst>
            <pc:docMk/>
            <pc:sldMk cId="1943975763" sldId="263"/>
            <ac:spMk id="10" creationId="{968A6167-6BB6-4EEF-A37C-8688CFCE3655}"/>
          </ac:spMkLst>
        </pc:spChg>
        <pc:spChg chg="del mod ord">
          <ac:chgData name="Alina D" userId="24a60029abdc116d" providerId="LiveId" clId="{162D3661-38AC-43C0-9102-0FF0CDDBDC47}" dt="2018-04-29T11:57:58.525" v="3814" actId="478"/>
          <ac:spMkLst>
            <pc:docMk/>
            <pc:sldMk cId="1943975763" sldId="263"/>
            <ac:spMk id="11" creationId="{312C52D4-543D-4042-918B-606676BBD66E}"/>
          </ac:spMkLst>
        </pc:spChg>
        <pc:spChg chg="del mod ord">
          <ac:chgData name="Alina D" userId="24a60029abdc116d" providerId="LiveId" clId="{162D3661-38AC-43C0-9102-0FF0CDDBDC47}" dt="2018-04-29T11:57:58.526" v="3815" actId="478"/>
          <ac:spMkLst>
            <pc:docMk/>
            <pc:sldMk cId="1943975763" sldId="263"/>
            <ac:spMk id="12" creationId="{0647A83B-574C-4160-A3C3-6066C5694A04}"/>
          </ac:spMkLst>
        </pc:spChg>
        <pc:spChg chg="del mod ord">
          <ac:chgData name="Alina D" userId="24a60029abdc116d" providerId="LiveId" clId="{162D3661-38AC-43C0-9102-0FF0CDDBDC47}" dt="2018-04-29T11:57:58.527" v="3816" actId="478"/>
          <ac:spMkLst>
            <pc:docMk/>
            <pc:sldMk cId="1943975763" sldId="263"/>
            <ac:spMk id="13" creationId="{CF71F150-D41E-47E7-B590-764AB3118BBB}"/>
          </ac:spMkLst>
        </pc:spChg>
        <pc:spChg chg="del mod ord">
          <ac:chgData name="Alina D" userId="24a60029abdc116d" providerId="LiveId" clId="{162D3661-38AC-43C0-9102-0FF0CDDBDC47}" dt="2018-04-29T11:57:58.528" v="3817" actId="478"/>
          <ac:spMkLst>
            <pc:docMk/>
            <pc:sldMk cId="1943975763" sldId="263"/>
            <ac:spMk id="14" creationId="{B189FCAB-14A1-485C-A591-CCB9122CD30E}"/>
          </ac:spMkLst>
        </pc:spChg>
        <pc:spChg chg="add del mod ord">
          <ac:chgData name="Alina D" userId="24a60029abdc116d" providerId="LiveId" clId="{162D3661-38AC-43C0-9102-0FF0CDDBDC47}" dt="2018-04-29T11:58:12.343" v="6769" actId="478"/>
          <ac:spMkLst>
            <pc:docMk/>
            <pc:sldMk cId="1943975763" sldId="263"/>
            <ac:spMk id="16" creationId="{215EE2A3-111C-4FF3-B07D-06BD9B120902}"/>
          </ac:spMkLst>
        </pc:spChg>
        <pc:spChg chg="del mod ord">
          <ac:chgData name="Alina D" userId="24a60029abdc116d" providerId="LiveId" clId="{162D3661-38AC-43C0-9102-0FF0CDDBDC47}" dt="2018-04-29T11:58:12.343" v="6770" actId="478"/>
          <ac:spMkLst>
            <pc:docMk/>
            <pc:sldMk cId="1943975763" sldId="263"/>
            <ac:spMk id="17" creationId="{526985C6-4F08-47EB-831C-CAB40BAA0BA6}"/>
          </ac:spMkLst>
        </pc:spChg>
        <pc:spChg chg="del mod ord">
          <ac:chgData name="Alina D" userId="24a60029abdc116d" providerId="LiveId" clId="{162D3661-38AC-43C0-9102-0FF0CDDBDC47}" dt="2018-04-29T11:58:12.343" v="6771" actId="478"/>
          <ac:spMkLst>
            <pc:docMk/>
            <pc:sldMk cId="1943975763" sldId="263"/>
            <ac:spMk id="18" creationId="{2DB4D531-DEF4-4276-98DF-BE769E3AECB3}"/>
          </ac:spMkLst>
        </pc:spChg>
        <pc:spChg chg="del mod ord">
          <ac:chgData name="Alina D" userId="24a60029abdc116d" providerId="LiveId" clId="{162D3661-38AC-43C0-9102-0FF0CDDBDC47}" dt="2018-04-29T11:58:12.343" v="6772" actId="478"/>
          <ac:spMkLst>
            <pc:docMk/>
            <pc:sldMk cId="1943975763" sldId="263"/>
            <ac:spMk id="19" creationId="{C91CF3F3-FDB1-4A86-9589-BCAB3538A86D}"/>
          </ac:spMkLst>
        </pc:spChg>
        <pc:spChg chg="del mod ord">
          <ac:chgData name="Alina D" userId="24a60029abdc116d" providerId="LiveId" clId="{162D3661-38AC-43C0-9102-0FF0CDDBDC47}" dt="2018-04-29T11:58:12.343" v="6773" actId="478"/>
          <ac:spMkLst>
            <pc:docMk/>
            <pc:sldMk cId="1943975763" sldId="263"/>
            <ac:spMk id="20" creationId="{EAB0D63D-2D8A-4A98-8410-E73B274B108B}"/>
          </ac:spMkLst>
        </pc:spChg>
        <pc:spChg chg="del mod ord">
          <ac:chgData name="Alina D" userId="24a60029abdc116d" providerId="LiveId" clId="{162D3661-38AC-43C0-9102-0FF0CDDBDC47}" dt="2018-04-29T11:58:12.343" v="6774" actId="478"/>
          <ac:spMkLst>
            <pc:docMk/>
            <pc:sldMk cId="1943975763" sldId="263"/>
            <ac:spMk id="21" creationId="{307E4A7B-3DC1-4C77-9543-E62B18F07BCE}"/>
          </ac:spMkLst>
        </pc:spChg>
        <pc:spChg chg="del mod ord">
          <ac:chgData name="Alina D" userId="24a60029abdc116d" providerId="LiveId" clId="{162D3661-38AC-43C0-9102-0FF0CDDBDC47}" dt="2018-04-29T11:58:12.343" v="6775" actId="478"/>
          <ac:spMkLst>
            <pc:docMk/>
            <pc:sldMk cId="1943975763" sldId="263"/>
            <ac:spMk id="22" creationId="{5A142E0B-44A3-4634-8218-E103BD3F4C52}"/>
          </ac:spMkLst>
        </pc:spChg>
        <pc:spChg chg="del mod ord">
          <ac:chgData name="Alina D" userId="24a60029abdc116d" providerId="LiveId" clId="{162D3661-38AC-43C0-9102-0FF0CDDBDC47}" dt="2018-04-29T11:58:12.343" v="6776" actId="478"/>
          <ac:spMkLst>
            <pc:docMk/>
            <pc:sldMk cId="1943975763" sldId="263"/>
            <ac:spMk id="23" creationId="{7AA25599-BBF9-4FD9-9AFE-492293688A72}"/>
          </ac:spMkLst>
        </pc:spChg>
        <pc:spChg chg="del mod ord">
          <ac:chgData name="Alina D" userId="24a60029abdc116d" providerId="LiveId" clId="{162D3661-38AC-43C0-9102-0FF0CDDBDC47}" dt="2018-04-29T11:58:12.343" v="6777" actId="478"/>
          <ac:spMkLst>
            <pc:docMk/>
            <pc:sldMk cId="1943975763" sldId="263"/>
            <ac:spMk id="24" creationId="{0AF21A4B-E8AC-486F-9EFE-9012F0D5A906}"/>
          </ac:spMkLst>
        </pc:spChg>
        <pc:spChg chg="del mod ord">
          <ac:chgData name="Alina D" userId="24a60029abdc116d" providerId="LiveId" clId="{162D3661-38AC-43C0-9102-0FF0CDDBDC47}" dt="2018-04-29T11:58:12.343" v="6778" actId="478"/>
          <ac:spMkLst>
            <pc:docMk/>
            <pc:sldMk cId="1943975763" sldId="263"/>
            <ac:spMk id="25" creationId="{2491A2C5-C6B0-4523-8F56-E287B7A6C6F3}"/>
          </ac:spMkLst>
        </pc:spChg>
        <pc:spChg chg="del mod ord">
          <ac:chgData name="Alina D" userId="24a60029abdc116d" providerId="LiveId" clId="{162D3661-38AC-43C0-9102-0FF0CDDBDC47}" dt="2018-04-29T11:58:12.343" v="6779" actId="478"/>
          <ac:spMkLst>
            <pc:docMk/>
            <pc:sldMk cId="1943975763" sldId="263"/>
            <ac:spMk id="26" creationId="{21E356E5-A4BF-40F3-BABF-4A957D0ABAFE}"/>
          </ac:spMkLst>
        </pc:spChg>
        <pc:spChg chg="del mod ord">
          <ac:chgData name="Alina D" userId="24a60029abdc116d" providerId="LiveId" clId="{162D3661-38AC-43C0-9102-0FF0CDDBDC47}" dt="2018-04-29T11:58:12.343" v="6780" actId="478"/>
          <ac:spMkLst>
            <pc:docMk/>
            <pc:sldMk cId="1943975763" sldId="263"/>
            <ac:spMk id="27" creationId="{D477D4C9-BF99-4FD0-9542-2546C3610CA9}"/>
          </ac:spMkLst>
        </pc:spChg>
        <pc:spChg chg="del mod ord">
          <ac:chgData name="Alina D" userId="24a60029abdc116d" providerId="LiveId" clId="{162D3661-38AC-43C0-9102-0FF0CDDBDC47}" dt="2018-04-29T11:58:12.343" v="6781" actId="478"/>
          <ac:spMkLst>
            <pc:docMk/>
            <pc:sldMk cId="1943975763" sldId="263"/>
            <ac:spMk id="28" creationId="{23098175-5D0F-4E96-8C41-75354F5F0181}"/>
          </ac:spMkLst>
        </pc:spChg>
        <pc:spChg chg="add del mod ord">
          <ac:chgData name="Alina D" userId="24a60029abdc116d" providerId="LiveId" clId="{162D3661-38AC-43C0-9102-0FF0CDDBDC47}" dt="2018-04-29T12:24:41.124" v="11296" actId="478"/>
          <ac:spMkLst>
            <pc:docMk/>
            <pc:sldMk cId="1943975763" sldId="263"/>
            <ac:spMk id="30" creationId="{E4CDB5C2-DAE4-4A06-A2E8-52D54410D83E}"/>
          </ac:spMkLst>
        </pc:spChg>
        <pc:spChg chg="del mod ord">
          <ac:chgData name="Alina D" userId="24a60029abdc116d" providerId="LiveId" clId="{162D3661-38AC-43C0-9102-0FF0CDDBDC47}" dt="2018-04-29T12:24:41.139" v="11297" actId="478"/>
          <ac:spMkLst>
            <pc:docMk/>
            <pc:sldMk cId="1943975763" sldId="263"/>
            <ac:spMk id="31" creationId="{B9013CED-3C60-4494-BDAD-B582E1D1810A}"/>
          </ac:spMkLst>
        </pc:spChg>
        <pc:spChg chg="del mod ord">
          <ac:chgData name="Alina D" userId="24a60029abdc116d" providerId="LiveId" clId="{162D3661-38AC-43C0-9102-0FF0CDDBDC47}" dt="2018-04-29T12:24:41.140" v="11298" actId="478"/>
          <ac:spMkLst>
            <pc:docMk/>
            <pc:sldMk cId="1943975763" sldId="263"/>
            <ac:spMk id="32" creationId="{DAA64F65-CA66-4F8F-A8A3-DFDAF3911F58}"/>
          </ac:spMkLst>
        </pc:spChg>
        <pc:spChg chg="del mod ord">
          <ac:chgData name="Alina D" userId="24a60029abdc116d" providerId="LiveId" clId="{162D3661-38AC-43C0-9102-0FF0CDDBDC47}" dt="2018-04-29T12:24:41.140" v="11299" actId="478"/>
          <ac:spMkLst>
            <pc:docMk/>
            <pc:sldMk cId="1943975763" sldId="263"/>
            <ac:spMk id="33" creationId="{00BCAC93-EE7F-4107-9DAF-5DDC7B46BC85}"/>
          </ac:spMkLst>
        </pc:spChg>
        <pc:spChg chg="del mod ord">
          <ac:chgData name="Alina D" userId="24a60029abdc116d" providerId="LiveId" clId="{162D3661-38AC-43C0-9102-0FF0CDDBDC47}" dt="2018-04-29T12:24:41.140" v="11300" actId="478"/>
          <ac:spMkLst>
            <pc:docMk/>
            <pc:sldMk cId="1943975763" sldId="263"/>
            <ac:spMk id="34" creationId="{940566F2-36F4-4003-8967-4BA73604EDC8}"/>
          </ac:spMkLst>
        </pc:spChg>
        <pc:spChg chg="del mod ord">
          <ac:chgData name="Alina D" userId="24a60029abdc116d" providerId="LiveId" clId="{162D3661-38AC-43C0-9102-0FF0CDDBDC47}" dt="2018-04-29T12:24:41.141" v="11301" actId="478"/>
          <ac:spMkLst>
            <pc:docMk/>
            <pc:sldMk cId="1943975763" sldId="263"/>
            <ac:spMk id="35" creationId="{82FAE790-1594-44ED-8788-E1A0E04028E3}"/>
          </ac:spMkLst>
        </pc:spChg>
        <pc:spChg chg="del mod ord">
          <ac:chgData name="Alina D" userId="24a60029abdc116d" providerId="LiveId" clId="{162D3661-38AC-43C0-9102-0FF0CDDBDC47}" dt="2018-04-29T12:24:41.141" v="11302" actId="478"/>
          <ac:spMkLst>
            <pc:docMk/>
            <pc:sldMk cId="1943975763" sldId="263"/>
            <ac:spMk id="36" creationId="{B08B643F-B6DD-467F-8FB2-47377D332216}"/>
          </ac:spMkLst>
        </pc:spChg>
        <pc:spChg chg="del mod ord">
          <ac:chgData name="Alina D" userId="24a60029abdc116d" providerId="LiveId" clId="{162D3661-38AC-43C0-9102-0FF0CDDBDC47}" dt="2018-04-29T12:24:41.141" v="11303" actId="478"/>
          <ac:spMkLst>
            <pc:docMk/>
            <pc:sldMk cId="1943975763" sldId="263"/>
            <ac:spMk id="37" creationId="{7D982A57-F698-48BE-9AC2-3181585DCD54}"/>
          </ac:spMkLst>
        </pc:spChg>
        <pc:spChg chg="del mod ord">
          <ac:chgData name="Alina D" userId="24a60029abdc116d" providerId="LiveId" clId="{162D3661-38AC-43C0-9102-0FF0CDDBDC47}" dt="2018-04-29T12:24:41.141" v="11304" actId="478"/>
          <ac:spMkLst>
            <pc:docMk/>
            <pc:sldMk cId="1943975763" sldId="263"/>
            <ac:spMk id="38" creationId="{FD79B444-8EA7-4C63-82A3-5BDB30ABB74E}"/>
          </ac:spMkLst>
        </pc:spChg>
        <pc:spChg chg="del mod ord">
          <ac:chgData name="Alina D" userId="24a60029abdc116d" providerId="LiveId" clId="{162D3661-38AC-43C0-9102-0FF0CDDBDC47}" dt="2018-04-29T12:24:41.141" v="11305" actId="478"/>
          <ac:spMkLst>
            <pc:docMk/>
            <pc:sldMk cId="1943975763" sldId="263"/>
            <ac:spMk id="39" creationId="{8DE416FE-E114-4452-8289-75F8FC98C4F7}"/>
          </ac:spMkLst>
        </pc:spChg>
        <pc:spChg chg="del mod ord">
          <ac:chgData name="Alina D" userId="24a60029abdc116d" providerId="LiveId" clId="{162D3661-38AC-43C0-9102-0FF0CDDBDC47}" dt="2018-04-29T12:24:41.141" v="11306" actId="478"/>
          <ac:spMkLst>
            <pc:docMk/>
            <pc:sldMk cId="1943975763" sldId="263"/>
            <ac:spMk id="40" creationId="{BD713AA9-1FCF-4C55-A0C4-1B670F738248}"/>
          </ac:spMkLst>
        </pc:spChg>
        <pc:spChg chg="del mod ord">
          <ac:chgData name="Alina D" userId="24a60029abdc116d" providerId="LiveId" clId="{162D3661-38AC-43C0-9102-0FF0CDDBDC47}" dt="2018-04-29T12:24:41.141" v="11307" actId="478"/>
          <ac:spMkLst>
            <pc:docMk/>
            <pc:sldMk cId="1943975763" sldId="263"/>
            <ac:spMk id="41" creationId="{8A8E7E72-4E94-4B78-A0EC-B2C2CD2D095A}"/>
          </ac:spMkLst>
        </pc:spChg>
        <pc:spChg chg="del mod ord">
          <ac:chgData name="Alina D" userId="24a60029abdc116d" providerId="LiveId" clId="{162D3661-38AC-43C0-9102-0FF0CDDBDC47}" dt="2018-04-29T12:24:41.141" v="11308" actId="478"/>
          <ac:spMkLst>
            <pc:docMk/>
            <pc:sldMk cId="1943975763" sldId="263"/>
            <ac:spMk id="42" creationId="{A46E36E5-6F2E-4263-A94F-17658A3A12F2}"/>
          </ac:spMkLst>
        </pc:spChg>
        <pc:spChg chg="add del mod ord">
          <ac:chgData name="Alina D" userId="24a60029abdc116d" providerId="LiveId" clId="{162D3661-38AC-43C0-9102-0FF0CDDBDC47}" dt="2018-04-29T12:25:25.933" v="13089" actId="478"/>
          <ac:spMkLst>
            <pc:docMk/>
            <pc:sldMk cId="1943975763" sldId="263"/>
            <ac:spMk id="45" creationId="{3C99DF90-FAF1-484C-8D30-0683365BDAD6}"/>
          </ac:spMkLst>
        </pc:spChg>
        <pc:spChg chg="del mod ord">
          <ac:chgData name="Alina D" userId="24a60029abdc116d" providerId="LiveId" clId="{162D3661-38AC-43C0-9102-0FF0CDDBDC47}" dt="2018-04-29T12:25:25.933" v="13090" actId="478"/>
          <ac:spMkLst>
            <pc:docMk/>
            <pc:sldMk cId="1943975763" sldId="263"/>
            <ac:spMk id="46" creationId="{5D156A8A-5A97-4498-9E3A-55BD15B7BFE0}"/>
          </ac:spMkLst>
        </pc:spChg>
        <pc:spChg chg="del mod ord">
          <ac:chgData name="Alina D" userId="24a60029abdc116d" providerId="LiveId" clId="{162D3661-38AC-43C0-9102-0FF0CDDBDC47}" dt="2018-04-29T12:25:25.933" v="13091" actId="478"/>
          <ac:spMkLst>
            <pc:docMk/>
            <pc:sldMk cId="1943975763" sldId="263"/>
            <ac:spMk id="47" creationId="{322D0829-65D1-445E-A9E7-1BD635A7A9B6}"/>
          </ac:spMkLst>
        </pc:spChg>
        <pc:spChg chg="del mod ord">
          <ac:chgData name="Alina D" userId="24a60029abdc116d" providerId="LiveId" clId="{162D3661-38AC-43C0-9102-0FF0CDDBDC47}" dt="2018-04-29T12:25:25.933" v="13092" actId="478"/>
          <ac:spMkLst>
            <pc:docMk/>
            <pc:sldMk cId="1943975763" sldId="263"/>
            <ac:spMk id="48" creationId="{9DD1B869-61E5-4377-8DDB-308B6AD35402}"/>
          </ac:spMkLst>
        </pc:spChg>
        <pc:spChg chg="del mod ord">
          <ac:chgData name="Alina D" userId="24a60029abdc116d" providerId="LiveId" clId="{162D3661-38AC-43C0-9102-0FF0CDDBDC47}" dt="2018-04-29T12:25:25.933" v="13093" actId="478"/>
          <ac:spMkLst>
            <pc:docMk/>
            <pc:sldMk cId="1943975763" sldId="263"/>
            <ac:spMk id="49" creationId="{963F1B3B-949C-4AA8-899E-EDA82B08E1A1}"/>
          </ac:spMkLst>
        </pc:spChg>
        <pc:spChg chg="del mod ord">
          <ac:chgData name="Alina D" userId="24a60029abdc116d" providerId="LiveId" clId="{162D3661-38AC-43C0-9102-0FF0CDDBDC47}" dt="2018-04-29T12:25:25.933" v="13094" actId="478"/>
          <ac:spMkLst>
            <pc:docMk/>
            <pc:sldMk cId="1943975763" sldId="263"/>
            <ac:spMk id="50" creationId="{C9B18251-5295-4B63-B01F-D97FDADDB2BB}"/>
          </ac:spMkLst>
        </pc:spChg>
        <pc:spChg chg="del mod ord">
          <ac:chgData name="Alina D" userId="24a60029abdc116d" providerId="LiveId" clId="{162D3661-38AC-43C0-9102-0FF0CDDBDC47}" dt="2018-04-29T12:25:25.933" v="13095" actId="478"/>
          <ac:spMkLst>
            <pc:docMk/>
            <pc:sldMk cId="1943975763" sldId="263"/>
            <ac:spMk id="51" creationId="{E27E82B9-4F8B-4E22-A12B-994CB3D67A71}"/>
          </ac:spMkLst>
        </pc:spChg>
        <pc:spChg chg="del mod ord">
          <ac:chgData name="Alina D" userId="24a60029abdc116d" providerId="LiveId" clId="{162D3661-38AC-43C0-9102-0FF0CDDBDC47}" dt="2018-04-29T12:25:25.933" v="13096" actId="478"/>
          <ac:spMkLst>
            <pc:docMk/>
            <pc:sldMk cId="1943975763" sldId="263"/>
            <ac:spMk id="52" creationId="{11998596-6790-4687-A792-C3D3DFC75CCC}"/>
          </ac:spMkLst>
        </pc:spChg>
        <pc:spChg chg="del mod ord">
          <ac:chgData name="Alina D" userId="24a60029abdc116d" providerId="LiveId" clId="{162D3661-38AC-43C0-9102-0FF0CDDBDC47}" dt="2018-04-29T12:25:25.933" v="13097" actId="478"/>
          <ac:spMkLst>
            <pc:docMk/>
            <pc:sldMk cId="1943975763" sldId="263"/>
            <ac:spMk id="53" creationId="{69090A33-ABB4-4DCC-9F2B-A44EE15E92E1}"/>
          </ac:spMkLst>
        </pc:spChg>
        <pc:spChg chg="del mod ord">
          <ac:chgData name="Alina D" userId="24a60029abdc116d" providerId="LiveId" clId="{162D3661-38AC-43C0-9102-0FF0CDDBDC47}" dt="2018-04-29T12:25:25.933" v="13098" actId="478"/>
          <ac:spMkLst>
            <pc:docMk/>
            <pc:sldMk cId="1943975763" sldId="263"/>
            <ac:spMk id="54" creationId="{16B73B0C-9B96-4BD8-933F-3F9AE0BC0E9A}"/>
          </ac:spMkLst>
        </pc:spChg>
        <pc:spChg chg="del mod ord">
          <ac:chgData name="Alina D" userId="24a60029abdc116d" providerId="LiveId" clId="{162D3661-38AC-43C0-9102-0FF0CDDBDC47}" dt="2018-04-29T12:25:25.933" v="13099" actId="478"/>
          <ac:spMkLst>
            <pc:docMk/>
            <pc:sldMk cId="1943975763" sldId="263"/>
            <ac:spMk id="55" creationId="{3A47B24B-4408-4E74-8214-A97CBB32C334}"/>
          </ac:spMkLst>
        </pc:spChg>
        <pc:spChg chg="add mod ord">
          <ac:chgData name="Alina D" userId="24a60029abdc116d" providerId="LiveId" clId="{162D3661-38AC-43C0-9102-0FF0CDDBDC47}" dt="2018-04-29T12:25:26.095" v="13282" actId="20577"/>
          <ac:spMkLst>
            <pc:docMk/>
            <pc:sldMk cId="1943975763" sldId="263"/>
            <ac:spMk id="57" creationId="{B204702C-EE03-43FF-A583-6DEA11784946}"/>
          </ac:spMkLst>
        </pc:spChg>
        <pc:spChg chg="mod ord">
          <ac:chgData name="Alina D" userId="24a60029abdc116d" providerId="LiveId" clId="{162D3661-38AC-43C0-9102-0FF0CDDBDC47}" dt="2018-04-29T12:25:26.095" v="13283" actId="20577"/>
          <ac:spMkLst>
            <pc:docMk/>
            <pc:sldMk cId="1943975763" sldId="263"/>
            <ac:spMk id="58" creationId="{5C484C8A-1868-47F3-98A2-551F3BBE5166}"/>
          </ac:spMkLst>
        </pc:spChg>
        <pc:spChg chg="mod ord">
          <ac:chgData name="Alina D" userId="24a60029abdc116d" providerId="LiveId" clId="{162D3661-38AC-43C0-9102-0FF0CDDBDC47}" dt="2018-04-29T12:25:26.095" v="13284" actId="20577"/>
          <ac:spMkLst>
            <pc:docMk/>
            <pc:sldMk cId="1943975763" sldId="263"/>
            <ac:spMk id="59" creationId="{7CF99857-4B73-49E2-8907-0AE8947E36E2}"/>
          </ac:spMkLst>
        </pc:spChg>
        <pc:spChg chg="mod ord">
          <ac:chgData name="Alina D" userId="24a60029abdc116d" providerId="LiveId" clId="{162D3661-38AC-43C0-9102-0FF0CDDBDC47}" dt="2018-04-29T12:25:26.095" v="13285" actId="20577"/>
          <ac:spMkLst>
            <pc:docMk/>
            <pc:sldMk cId="1943975763" sldId="263"/>
            <ac:spMk id="60" creationId="{9398A4A7-FD61-4786-87CA-5FCD2A75B504}"/>
          </ac:spMkLst>
        </pc:spChg>
        <pc:spChg chg="mod ord">
          <ac:chgData name="Alina D" userId="24a60029abdc116d" providerId="LiveId" clId="{162D3661-38AC-43C0-9102-0FF0CDDBDC47}" dt="2018-04-29T12:25:26.095" v="13286" actId="20577"/>
          <ac:spMkLst>
            <pc:docMk/>
            <pc:sldMk cId="1943975763" sldId="263"/>
            <ac:spMk id="61" creationId="{55D67888-53F5-4B0E-BE5B-E6BE9A1EC7BE}"/>
          </ac:spMkLst>
        </pc:spChg>
        <pc:spChg chg="mod ord">
          <ac:chgData name="Alina D" userId="24a60029abdc116d" providerId="LiveId" clId="{162D3661-38AC-43C0-9102-0FF0CDDBDC47}" dt="2018-04-29T12:25:26.095" v="13287" actId="20577"/>
          <ac:spMkLst>
            <pc:docMk/>
            <pc:sldMk cId="1943975763" sldId="263"/>
            <ac:spMk id="62" creationId="{DCFE049D-F794-4A23-B97C-9D390F995822}"/>
          </ac:spMkLst>
        </pc:spChg>
        <pc:spChg chg="mod ord">
          <ac:chgData name="Alina D" userId="24a60029abdc116d" providerId="LiveId" clId="{162D3661-38AC-43C0-9102-0FF0CDDBDC47}" dt="2018-04-29T12:25:26.095" v="13288" actId="20577"/>
          <ac:spMkLst>
            <pc:docMk/>
            <pc:sldMk cId="1943975763" sldId="263"/>
            <ac:spMk id="63" creationId="{D5B8D434-EB4E-49CD-BAA6-612A7A8ED3F5}"/>
          </ac:spMkLst>
        </pc:spChg>
        <pc:spChg chg="mod ord">
          <ac:chgData name="Alina D" userId="24a60029abdc116d" providerId="LiveId" clId="{162D3661-38AC-43C0-9102-0FF0CDDBDC47}" dt="2018-04-29T12:25:26.095" v="13289" actId="20577"/>
          <ac:spMkLst>
            <pc:docMk/>
            <pc:sldMk cId="1943975763" sldId="263"/>
            <ac:spMk id="64" creationId="{CE22005B-DB3A-4890-956B-C8F0E286B531}"/>
          </ac:spMkLst>
        </pc:spChg>
        <pc:spChg chg="mod ord">
          <ac:chgData name="Alina D" userId="24a60029abdc116d" providerId="LiveId" clId="{162D3661-38AC-43C0-9102-0FF0CDDBDC47}" dt="2018-04-29T12:25:26.095" v="13290" actId="20577"/>
          <ac:spMkLst>
            <pc:docMk/>
            <pc:sldMk cId="1943975763" sldId="263"/>
            <ac:spMk id="65" creationId="{C36521CC-33C5-407F-B6AA-CCB5822E59E6}"/>
          </ac:spMkLst>
        </pc:spChg>
        <pc:spChg chg="mod ord">
          <ac:chgData name="Alina D" userId="24a60029abdc116d" providerId="LiveId" clId="{162D3661-38AC-43C0-9102-0FF0CDDBDC47}" dt="2018-04-29T12:25:26.095" v="13291" actId="20577"/>
          <ac:spMkLst>
            <pc:docMk/>
            <pc:sldMk cId="1943975763" sldId="263"/>
            <ac:spMk id="66" creationId="{0F3929B1-257C-4DAB-BB2D-9A5B66EBC9E3}"/>
          </ac:spMkLst>
        </pc:spChg>
        <pc:spChg chg="mod ord">
          <ac:chgData name="Alina D" userId="24a60029abdc116d" providerId="LiveId" clId="{162D3661-38AC-43C0-9102-0FF0CDDBDC47}" dt="2018-04-29T12:25:26.095" v="13292" actId="20577"/>
          <ac:spMkLst>
            <pc:docMk/>
            <pc:sldMk cId="1943975763" sldId="263"/>
            <ac:spMk id="67" creationId="{D160026E-0D57-4813-9810-AE41A00F2BD5}"/>
          </ac:spMkLst>
        </pc:spChg>
      </pc:sldChg>
      <pc:sldChg chg="addSp delSp modSp">
        <pc:chgData name="Alina D" userId="24a60029abdc116d" providerId="LiveId" clId="{162D3661-38AC-43C0-9102-0FF0CDDBDC47}" dt="2018-04-29T12:25:26.246" v="13429" actId="20577"/>
        <pc:sldMkLst>
          <pc:docMk/>
          <pc:sldMk cId="1758302113" sldId="264"/>
        </pc:sldMkLst>
        <pc:spChg chg="del mod ord">
          <ac:chgData name="Alina D" userId="24a60029abdc116d" providerId="LiveId" clId="{162D3661-38AC-43C0-9102-0FF0CDDBDC47}" dt="2018-04-29T11:57:58.529" v="3818" actId="478"/>
          <ac:spMkLst>
            <pc:docMk/>
            <pc:sldMk cId="1758302113" sldId="264"/>
            <ac:spMk id="2" creationId="{BBF152A4-184D-4863-8F58-FB9CF4CFAC45}"/>
          </ac:spMkLst>
        </pc:spChg>
        <pc:spChg chg="del mod ord">
          <ac:chgData name="Alina D" userId="24a60029abdc116d" providerId="LiveId" clId="{162D3661-38AC-43C0-9102-0FF0CDDBDC47}" dt="2018-04-29T11:57:58.529" v="3819" actId="478"/>
          <ac:spMkLst>
            <pc:docMk/>
            <pc:sldMk cId="1758302113" sldId="264"/>
            <ac:spMk id="3" creationId="{205DAB23-2432-416A-9AEE-B9F0C03ADFE9}"/>
          </ac:spMkLst>
        </pc:spChg>
        <pc:spChg chg="del mod ord">
          <ac:chgData name="Alina D" userId="24a60029abdc116d" providerId="LiveId" clId="{162D3661-38AC-43C0-9102-0FF0CDDBDC47}" dt="2018-04-29T11:57:58.529" v="3820" actId="478"/>
          <ac:spMkLst>
            <pc:docMk/>
            <pc:sldMk cId="1758302113" sldId="264"/>
            <ac:spMk id="4" creationId="{A6B85A3E-1133-4E5B-8C34-6376CC69C4A7}"/>
          </ac:spMkLst>
        </pc:spChg>
        <pc:spChg chg="del mod ord">
          <ac:chgData name="Alina D" userId="24a60029abdc116d" providerId="LiveId" clId="{162D3661-38AC-43C0-9102-0FF0CDDBDC47}" dt="2018-04-29T11:57:58.529" v="3823" actId="478"/>
          <ac:spMkLst>
            <pc:docMk/>
            <pc:sldMk cId="1758302113" sldId="264"/>
            <ac:spMk id="7" creationId="{47C703DA-5C24-432E-BF74-74E6777863CD}"/>
          </ac:spMkLst>
        </pc:spChg>
        <pc:spChg chg="del mod ord">
          <ac:chgData name="Alina D" userId="24a60029abdc116d" providerId="LiveId" clId="{162D3661-38AC-43C0-9102-0FF0CDDBDC47}" dt="2018-04-29T11:57:58.529" v="3824" actId="478"/>
          <ac:spMkLst>
            <pc:docMk/>
            <pc:sldMk cId="1758302113" sldId="264"/>
            <ac:spMk id="8" creationId="{3611609C-DA56-45B6-958E-E621FCED40B2}"/>
          </ac:spMkLst>
        </pc:spChg>
        <pc:spChg chg="del mod ord">
          <ac:chgData name="Alina D" userId="24a60029abdc116d" providerId="LiveId" clId="{162D3661-38AC-43C0-9102-0FF0CDDBDC47}" dt="2018-04-29T11:57:58.529" v="3825" actId="478"/>
          <ac:spMkLst>
            <pc:docMk/>
            <pc:sldMk cId="1758302113" sldId="264"/>
            <ac:spMk id="9" creationId="{C2998A76-2A33-4964-BC88-EFAE1EF40E61}"/>
          </ac:spMkLst>
        </pc:spChg>
        <pc:spChg chg="del mod ord">
          <ac:chgData name="Alina D" userId="24a60029abdc116d" providerId="LiveId" clId="{162D3661-38AC-43C0-9102-0FF0CDDBDC47}" dt="2018-04-29T11:57:58.529" v="3826" actId="478"/>
          <ac:spMkLst>
            <pc:docMk/>
            <pc:sldMk cId="1758302113" sldId="264"/>
            <ac:spMk id="10" creationId="{42354A99-BB20-4FCC-B575-0B2CC53CCC54}"/>
          </ac:spMkLst>
        </pc:spChg>
        <pc:spChg chg="del mod ord">
          <ac:chgData name="Alina D" userId="24a60029abdc116d" providerId="LiveId" clId="{162D3661-38AC-43C0-9102-0FF0CDDBDC47}" dt="2018-04-29T11:57:58.529" v="3827" actId="478"/>
          <ac:spMkLst>
            <pc:docMk/>
            <pc:sldMk cId="1758302113" sldId="264"/>
            <ac:spMk id="11" creationId="{F219ABEE-CE27-45FB-9410-3B36E85E50AC}"/>
          </ac:spMkLst>
        </pc:spChg>
        <pc:spChg chg="del mod ord">
          <ac:chgData name="Alina D" userId="24a60029abdc116d" providerId="LiveId" clId="{162D3661-38AC-43C0-9102-0FF0CDDBDC47}" dt="2018-04-29T11:57:58.529" v="3828" actId="478"/>
          <ac:spMkLst>
            <pc:docMk/>
            <pc:sldMk cId="1758302113" sldId="264"/>
            <ac:spMk id="12" creationId="{8A52EAD5-4D15-46D2-9390-B4269A722EE0}"/>
          </ac:spMkLst>
        </pc:spChg>
        <pc:spChg chg="del mod ord">
          <ac:chgData name="Alina D" userId="24a60029abdc116d" providerId="LiveId" clId="{162D3661-38AC-43C0-9102-0FF0CDDBDC47}" dt="2018-04-29T11:57:58.529" v="3829" actId="478"/>
          <ac:spMkLst>
            <pc:docMk/>
            <pc:sldMk cId="1758302113" sldId="264"/>
            <ac:spMk id="13" creationId="{6B706AFD-D13E-43B0-A275-E37B8CC2FD17}"/>
          </ac:spMkLst>
        </pc:spChg>
        <pc:spChg chg="del mod ord">
          <ac:chgData name="Alina D" userId="24a60029abdc116d" providerId="LiveId" clId="{162D3661-38AC-43C0-9102-0FF0CDDBDC47}" dt="2018-04-29T11:57:58.529" v="3830" actId="478"/>
          <ac:spMkLst>
            <pc:docMk/>
            <pc:sldMk cId="1758302113" sldId="264"/>
            <ac:spMk id="14" creationId="{E79BF80E-0FFA-4B68-853F-94B5F3C90D37}"/>
          </ac:spMkLst>
        </pc:spChg>
        <pc:spChg chg="del mod ord">
          <ac:chgData name="Alina D" userId="24a60029abdc116d" providerId="LiveId" clId="{162D3661-38AC-43C0-9102-0FF0CDDBDC47}" dt="2018-04-29T11:57:58.529" v="3831" actId="478"/>
          <ac:spMkLst>
            <pc:docMk/>
            <pc:sldMk cId="1758302113" sldId="264"/>
            <ac:spMk id="15" creationId="{D3FD1DDE-A3D6-43DA-A25F-1DEF00884963}"/>
          </ac:spMkLst>
        </pc:spChg>
        <pc:spChg chg="del mod ord">
          <ac:chgData name="Alina D" userId="24a60029abdc116d" providerId="LiveId" clId="{162D3661-38AC-43C0-9102-0FF0CDDBDC47}" dt="2018-04-29T11:57:58.529" v="3832" actId="478"/>
          <ac:spMkLst>
            <pc:docMk/>
            <pc:sldMk cId="1758302113" sldId="264"/>
            <ac:spMk id="16" creationId="{585BE74E-5F8D-4EDE-9EED-9E51DCF615BE}"/>
          </ac:spMkLst>
        </pc:spChg>
        <pc:spChg chg="add del mod ord">
          <ac:chgData name="Alina D" userId="24a60029abdc116d" providerId="LiveId" clId="{162D3661-38AC-43C0-9102-0FF0CDDBDC47}" dt="2018-04-29T11:58:12.343" v="6782" actId="478"/>
          <ac:spMkLst>
            <pc:docMk/>
            <pc:sldMk cId="1758302113" sldId="264"/>
            <ac:spMk id="18" creationId="{4A00F827-B084-4E37-A293-B5CF07E8F175}"/>
          </ac:spMkLst>
        </pc:spChg>
        <pc:spChg chg="del mod ord">
          <ac:chgData name="Alina D" userId="24a60029abdc116d" providerId="LiveId" clId="{162D3661-38AC-43C0-9102-0FF0CDDBDC47}" dt="2018-04-29T11:58:12.343" v="6783" actId="478"/>
          <ac:spMkLst>
            <pc:docMk/>
            <pc:sldMk cId="1758302113" sldId="264"/>
            <ac:spMk id="19" creationId="{49A28D14-63EF-4FE1-A385-43359BA76548}"/>
          </ac:spMkLst>
        </pc:spChg>
        <pc:spChg chg="del mod ord">
          <ac:chgData name="Alina D" userId="24a60029abdc116d" providerId="LiveId" clId="{162D3661-38AC-43C0-9102-0FF0CDDBDC47}" dt="2018-04-29T11:58:12.343" v="6784" actId="478"/>
          <ac:spMkLst>
            <pc:docMk/>
            <pc:sldMk cId="1758302113" sldId="264"/>
            <ac:spMk id="20" creationId="{2E88FC86-0DC0-47D0-BC00-D6F326902A66}"/>
          </ac:spMkLst>
        </pc:spChg>
        <pc:spChg chg="del mod ord">
          <ac:chgData name="Alina D" userId="24a60029abdc116d" providerId="LiveId" clId="{162D3661-38AC-43C0-9102-0FF0CDDBDC47}" dt="2018-04-29T11:58:12.358" v="6787" actId="478"/>
          <ac:spMkLst>
            <pc:docMk/>
            <pc:sldMk cId="1758302113" sldId="264"/>
            <ac:spMk id="23" creationId="{D8751417-067D-4902-92F2-1575BEEF4435}"/>
          </ac:spMkLst>
        </pc:spChg>
        <pc:spChg chg="del mod ord">
          <ac:chgData name="Alina D" userId="24a60029abdc116d" providerId="LiveId" clId="{162D3661-38AC-43C0-9102-0FF0CDDBDC47}" dt="2018-04-29T11:58:12.358" v="6788" actId="478"/>
          <ac:spMkLst>
            <pc:docMk/>
            <pc:sldMk cId="1758302113" sldId="264"/>
            <ac:spMk id="24" creationId="{C098ABD2-F601-4149-8E0B-604D992DDEE2}"/>
          </ac:spMkLst>
        </pc:spChg>
        <pc:spChg chg="del mod ord">
          <ac:chgData name="Alina D" userId="24a60029abdc116d" providerId="LiveId" clId="{162D3661-38AC-43C0-9102-0FF0CDDBDC47}" dt="2018-04-29T11:58:12.358" v="6789" actId="478"/>
          <ac:spMkLst>
            <pc:docMk/>
            <pc:sldMk cId="1758302113" sldId="264"/>
            <ac:spMk id="25" creationId="{A5AA7AD7-35C2-4F94-9F7C-6A9C5567CE22}"/>
          </ac:spMkLst>
        </pc:spChg>
        <pc:spChg chg="del mod ord">
          <ac:chgData name="Alina D" userId="24a60029abdc116d" providerId="LiveId" clId="{162D3661-38AC-43C0-9102-0FF0CDDBDC47}" dt="2018-04-29T11:58:12.358" v="6790" actId="478"/>
          <ac:spMkLst>
            <pc:docMk/>
            <pc:sldMk cId="1758302113" sldId="264"/>
            <ac:spMk id="26" creationId="{43AE3A96-5862-4F6A-AD6C-F1EEB6314ACE}"/>
          </ac:spMkLst>
        </pc:spChg>
        <pc:spChg chg="del mod ord">
          <ac:chgData name="Alina D" userId="24a60029abdc116d" providerId="LiveId" clId="{162D3661-38AC-43C0-9102-0FF0CDDBDC47}" dt="2018-04-29T11:58:12.358" v="6791" actId="478"/>
          <ac:spMkLst>
            <pc:docMk/>
            <pc:sldMk cId="1758302113" sldId="264"/>
            <ac:spMk id="27" creationId="{13629466-CBB6-4DD1-921A-E8FB0A8013F5}"/>
          </ac:spMkLst>
        </pc:spChg>
        <pc:spChg chg="del mod ord">
          <ac:chgData name="Alina D" userId="24a60029abdc116d" providerId="LiveId" clId="{162D3661-38AC-43C0-9102-0FF0CDDBDC47}" dt="2018-04-29T11:58:12.358" v="6792" actId="478"/>
          <ac:spMkLst>
            <pc:docMk/>
            <pc:sldMk cId="1758302113" sldId="264"/>
            <ac:spMk id="28" creationId="{D583C54D-4593-4669-A2F2-EF5EC44E2095}"/>
          </ac:spMkLst>
        </pc:spChg>
        <pc:spChg chg="del mod ord">
          <ac:chgData name="Alina D" userId="24a60029abdc116d" providerId="LiveId" clId="{162D3661-38AC-43C0-9102-0FF0CDDBDC47}" dt="2018-04-29T11:58:12.358" v="6793" actId="478"/>
          <ac:spMkLst>
            <pc:docMk/>
            <pc:sldMk cId="1758302113" sldId="264"/>
            <ac:spMk id="29" creationId="{892552D5-C813-43F2-AFC2-A754FDCFC85B}"/>
          </ac:spMkLst>
        </pc:spChg>
        <pc:spChg chg="del mod ord">
          <ac:chgData name="Alina D" userId="24a60029abdc116d" providerId="LiveId" clId="{162D3661-38AC-43C0-9102-0FF0CDDBDC47}" dt="2018-04-29T11:58:12.358" v="6794" actId="478"/>
          <ac:spMkLst>
            <pc:docMk/>
            <pc:sldMk cId="1758302113" sldId="264"/>
            <ac:spMk id="30" creationId="{735424EF-0681-4E0C-87CB-C7C8222605B1}"/>
          </ac:spMkLst>
        </pc:spChg>
        <pc:spChg chg="del mod ord">
          <ac:chgData name="Alina D" userId="24a60029abdc116d" providerId="LiveId" clId="{162D3661-38AC-43C0-9102-0FF0CDDBDC47}" dt="2018-04-29T11:58:12.358" v="6795" actId="478"/>
          <ac:spMkLst>
            <pc:docMk/>
            <pc:sldMk cId="1758302113" sldId="264"/>
            <ac:spMk id="31" creationId="{2A539743-9BED-48E2-9567-B16B2A27E472}"/>
          </ac:spMkLst>
        </pc:spChg>
        <pc:spChg chg="del mod ord">
          <ac:chgData name="Alina D" userId="24a60029abdc116d" providerId="LiveId" clId="{162D3661-38AC-43C0-9102-0FF0CDDBDC47}" dt="2018-04-29T11:58:12.358" v="6796" actId="478"/>
          <ac:spMkLst>
            <pc:docMk/>
            <pc:sldMk cId="1758302113" sldId="264"/>
            <ac:spMk id="32" creationId="{63CA1D0D-E17D-4B2E-B89A-795025856674}"/>
          </ac:spMkLst>
        </pc:spChg>
        <pc:spChg chg="add del mod ord">
          <ac:chgData name="Alina D" userId="24a60029abdc116d" providerId="LiveId" clId="{162D3661-38AC-43C0-9102-0FF0CDDBDC47}" dt="2018-04-29T12:24:41.141" v="11309" actId="478"/>
          <ac:spMkLst>
            <pc:docMk/>
            <pc:sldMk cId="1758302113" sldId="264"/>
            <ac:spMk id="34" creationId="{3C3BDCCA-FA80-49CE-8B34-701C535EE621}"/>
          </ac:spMkLst>
        </pc:spChg>
        <pc:spChg chg="del mod ord">
          <ac:chgData name="Alina D" userId="24a60029abdc116d" providerId="LiveId" clId="{162D3661-38AC-43C0-9102-0FF0CDDBDC47}" dt="2018-04-29T12:24:41.141" v="11310" actId="478"/>
          <ac:spMkLst>
            <pc:docMk/>
            <pc:sldMk cId="1758302113" sldId="264"/>
            <ac:spMk id="35" creationId="{4BB4FBBF-0A65-469F-A5F3-37613173D855}"/>
          </ac:spMkLst>
        </pc:spChg>
        <pc:spChg chg="del mod ord">
          <ac:chgData name="Alina D" userId="24a60029abdc116d" providerId="LiveId" clId="{162D3661-38AC-43C0-9102-0FF0CDDBDC47}" dt="2018-04-29T12:24:41.141" v="11311" actId="478"/>
          <ac:spMkLst>
            <pc:docMk/>
            <pc:sldMk cId="1758302113" sldId="264"/>
            <ac:spMk id="36" creationId="{27D87FF2-617C-4CC7-A08B-2A30AA71BC12}"/>
          </ac:spMkLst>
        </pc:spChg>
        <pc:spChg chg="del mod ord">
          <ac:chgData name="Alina D" userId="24a60029abdc116d" providerId="LiveId" clId="{162D3661-38AC-43C0-9102-0FF0CDDBDC47}" dt="2018-04-29T12:24:41.141" v="11314" actId="478"/>
          <ac:spMkLst>
            <pc:docMk/>
            <pc:sldMk cId="1758302113" sldId="264"/>
            <ac:spMk id="39" creationId="{23339825-2D71-4891-8D34-FE19D828573D}"/>
          </ac:spMkLst>
        </pc:spChg>
        <pc:spChg chg="del mod ord">
          <ac:chgData name="Alina D" userId="24a60029abdc116d" providerId="LiveId" clId="{162D3661-38AC-43C0-9102-0FF0CDDBDC47}" dt="2018-04-29T12:24:41.157" v="11315" actId="478"/>
          <ac:spMkLst>
            <pc:docMk/>
            <pc:sldMk cId="1758302113" sldId="264"/>
            <ac:spMk id="40" creationId="{38755412-E9F9-4645-94B0-8B1727B2A97E}"/>
          </ac:spMkLst>
        </pc:spChg>
        <pc:spChg chg="del mod ord">
          <ac:chgData name="Alina D" userId="24a60029abdc116d" providerId="LiveId" clId="{162D3661-38AC-43C0-9102-0FF0CDDBDC47}" dt="2018-04-29T12:24:41.157" v="11316" actId="478"/>
          <ac:spMkLst>
            <pc:docMk/>
            <pc:sldMk cId="1758302113" sldId="264"/>
            <ac:spMk id="41" creationId="{624AE53B-3218-4BA1-AE46-D1F2013169ED}"/>
          </ac:spMkLst>
        </pc:spChg>
        <pc:spChg chg="del mod ord">
          <ac:chgData name="Alina D" userId="24a60029abdc116d" providerId="LiveId" clId="{162D3661-38AC-43C0-9102-0FF0CDDBDC47}" dt="2018-04-29T12:24:41.158" v="11317" actId="478"/>
          <ac:spMkLst>
            <pc:docMk/>
            <pc:sldMk cId="1758302113" sldId="264"/>
            <ac:spMk id="42" creationId="{C1EAF146-50BF-478F-B2E5-91E705B8BE26}"/>
          </ac:spMkLst>
        </pc:spChg>
        <pc:spChg chg="del mod ord">
          <ac:chgData name="Alina D" userId="24a60029abdc116d" providerId="LiveId" clId="{162D3661-38AC-43C0-9102-0FF0CDDBDC47}" dt="2018-04-29T12:24:41.158" v="11318" actId="478"/>
          <ac:spMkLst>
            <pc:docMk/>
            <pc:sldMk cId="1758302113" sldId="264"/>
            <ac:spMk id="43" creationId="{5ED4A48C-34D6-46A6-9CF7-2B05AA96040A}"/>
          </ac:spMkLst>
        </pc:spChg>
        <pc:spChg chg="del mod ord">
          <ac:chgData name="Alina D" userId="24a60029abdc116d" providerId="LiveId" clId="{162D3661-38AC-43C0-9102-0FF0CDDBDC47}" dt="2018-04-29T12:24:41.158" v="11319" actId="478"/>
          <ac:spMkLst>
            <pc:docMk/>
            <pc:sldMk cId="1758302113" sldId="264"/>
            <ac:spMk id="44" creationId="{10DE9FED-60F0-4791-9A5A-F83E6068AFFC}"/>
          </ac:spMkLst>
        </pc:spChg>
        <pc:spChg chg="del mod ord">
          <ac:chgData name="Alina D" userId="24a60029abdc116d" providerId="LiveId" clId="{162D3661-38AC-43C0-9102-0FF0CDDBDC47}" dt="2018-04-29T12:24:41.159" v="11320" actId="478"/>
          <ac:spMkLst>
            <pc:docMk/>
            <pc:sldMk cId="1758302113" sldId="264"/>
            <ac:spMk id="45" creationId="{C6CADE48-7AF2-4133-88AE-357AF600631B}"/>
          </ac:spMkLst>
        </pc:spChg>
        <pc:spChg chg="del mod ord">
          <ac:chgData name="Alina D" userId="24a60029abdc116d" providerId="LiveId" clId="{162D3661-38AC-43C0-9102-0FF0CDDBDC47}" dt="2018-04-29T12:24:41.159" v="11321" actId="478"/>
          <ac:spMkLst>
            <pc:docMk/>
            <pc:sldMk cId="1758302113" sldId="264"/>
            <ac:spMk id="46" creationId="{9DB86A7C-A18C-4633-945B-DD238C44D850}"/>
          </ac:spMkLst>
        </pc:spChg>
        <pc:spChg chg="del mod ord">
          <ac:chgData name="Alina D" userId="24a60029abdc116d" providerId="LiveId" clId="{162D3661-38AC-43C0-9102-0FF0CDDBDC47}" dt="2018-04-29T12:24:41.160" v="11322" actId="478"/>
          <ac:spMkLst>
            <pc:docMk/>
            <pc:sldMk cId="1758302113" sldId="264"/>
            <ac:spMk id="47" creationId="{FD8FEA1D-E281-48D6-8844-4861DCAE63E5}"/>
          </ac:spMkLst>
        </pc:spChg>
        <pc:spChg chg="del mod ord">
          <ac:chgData name="Alina D" userId="24a60029abdc116d" providerId="LiveId" clId="{162D3661-38AC-43C0-9102-0FF0CDDBDC47}" dt="2018-04-29T12:24:41.160" v="11323" actId="478"/>
          <ac:spMkLst>
            <pc:docMk/>
            <pc:sldMk cId="1758302113" sldId="264"/>
            <ac:spMk id="48" creationId="{4E5781BA-D679-4759-B08D-5103FA22772E}"/>
          </ac:spMkLst>
        </pc:spChg>
        <pc:spChg chg="add del mod ord">
          <ac:chgData name="Alina D" userId="24a60029abdc116d" providerId="LiveId" clId="{162D3661-38AC-43C0-9102-0FF0CDDBDC47}" dt="2018-04-29T12:25:25.933" v="13100" actId="478"/>
          <ac:spMkLst>
            <pc:docMk/>
            <pc:sldMk cId="1758302113" sldId="264"/>
            <ac:spMk id="51" creationId="{C210C782-9B23-40F9-9C0D-9B81E4DA2424}"/>
          </ac:spMkLst>
        </pc:spChg>
        <pc:spChg chg="del mod ord">
          <ac:chgData name="Alina D" userId="24a60029abdc116d" providerId="LiveId" clId="{162D3661-38AC-43C0-9102-0FF0CDDBDC47}" dt="2018-04-29T12:25:25.933" v="13101" actId="478"/>
          <ac:spMkLst>
            <pc:docMk/>
            <pc:sldMk cId="1758302113" sldId="264"/>
            <ac:spMk id="52" creationId="{004C837B-85FA-4309-B242-72E5147C484E}"/>
          </ac:spMkLst>
        </pc:spChg>
        <pc:spChg chg="del mod ord">
          <ac:chgData name="Alina D" userId="24a60029abdc116d" providerId="LiveId" clId="{162D3661-38AC-43C0-9102-0FF0CDDBDC47}" dt="2018-04-29T12:25:25.949" v="13102" actId="478"/>
          <ac:spMkLst>
            <pc:docMk/>
            <pc:sldMk cId="1758302113" sldId="264"/>
            <ac:spMk id="53" creationId="{DDB91CD5-46C2-46AA-90E5-F4DA917B5BE9}"/>
          </ac:spMkLst>
        </pc:spChg>
        <pc:spChg chg="del mod ord">
          <ac:chgData name="Alina D" userId="24a60029abdc116d" providerId="LiveId" clId="{162D3661-38AC-43C0-9102-0FF0CDDBDC47}" dt="2018-04-29T12:25:25.952" v="13105" actId="478"/>
          <ac:spMkLst>
            <pc:docMk/>
            <pc:sldMk cId="1758302113" sldId="264"/>
            <ac:spMk id="56" creationId="{581EDB51-CC42-4B1F-A1BB-B357EE797C08}"/>
          </ac:spMkLst>
        </pc:spChg>
        <pc:spChg chg="del mod ord">
          <ac:chgData name="Alina D" userId="24a60029abdc116d" providerId="LiveId" clId="{162D3661-38AC-43C0-9102-0FF0CDDBDC47}" dt="2018-04-29T12:25:25.952" v="13106" actId="478"/>
          <ac:spMkLst>
            <pc:docMk/>
            <pc:sldMk cId="1758302113" sldId="264"/>
            <ac:spMk id="57" creationId="{D44A564A-FF93-4FDF-AFB2-B4A9BBC1D2B9}"/>
          </ac:spMkLst>
        </pc:spChg>
        <pc:spChg chg="del mod ord">
          <ac:chgData name="Alina D" userId="24a60029abdc116d" providerId="LiveId" clId="{162D3661-38AC-43C0-9102-0FF0CDDBDC47}" dt="2018-04-29T12:25:25.952" v="13107" actId="478"/>
          <ac:spMkLst>
            <pc:docMk/>
            <pc:sldMk cId="1758302113" sldId="264"/>
            <ac:spMk id="58" creationId="{4DBFE1BB-0A1A-40FF-A9F7-FA267983064E}"/>
          </ac:spMkLst>
        </pc:spChg>
        <pc:spChg chg="del mod ord">
          <ac:chgData name="Alina D" userId="24a60029abdc116d" providerId="LiveId" clId="{162D3661-38AC-43C0-9102-0FF0CDDBDC47}" dt="2018-04-29T12:25:25.952" v="13108" actId="478"/>
          <ac:spMkLst>
            <pc:docMk/>
            <pc:sldMk cId="1758302113" sldId="264"/>
            <ac:spMk id="59" creationId="{44BD04AC-6046-4F60-8B76-11887ABF49EB}"/>
          </ac:spMkLst>
        </pc:spChg>
        <pc:spChg chg="del mod ord">
          <ac:chgData name="Alina D" userId="24a60029abdc116d" providerId="LiveId" clId="{162D3661-38AC-43C0-9102-0FF0CDDBDC47}" dt="2018-04-29T12:25:25.952" v="13109" actId="478"/>
          <ac:spMkLst>
            <pc:docMk/>
            <pc:sldMk cId="1758302113" sldId="264"/>
            <ac:spMk id="60" creationId="{77599AEA-C9C4-4B96-BD23-12FCFA187694}"/>
          </ac:spMkLst>
        </pc:spChg>
        <pc:spChg chg="del mod ord">
          <ac:chgData name="Alina D" userId="24a60029abdc116d" providerId="LiveId" clId="{162D3661-38AC-43C0-9102-0FF0CDDBDC47}" dt="2018-04-29T12:25:25.952" v="13110" actId="478"/>
          <ac:spMkLst>
            <pc:docMk/>
            <pc:sldMk cId="1758302113" sldId="264"/>
            <ac:spMk id="61" creationId="{9ED622D9-B37B-4899-9ED3-D209C66542A7}"/>
          </ac:spMkLst>
        </pc:spChg>
        <pc:spChg chg="del mod ord">
          <ac:chgData name="Alina D" userId="24a60029abdc116d" providerId="LiveId" clId="{162D3661-38AC-43C0-9102-0FF0CDDBDC47}" dt="2018-04-29T12:25:25.952" v="13111" actId="478"/>
          <ac:spMkLst>
            <pc:docMk/>
            <pc:sldMk cId="1758302113" sldId="264"/>
            <ac:spMk id="62" creationId="{11FCF28E-9410-42D0-A4AB-7BC671305BAD}"/>
          </ac:spMkLst>
        </pc:spChg>
        <pc:spChg chg="del mod ord">
          <ac:chgData name="Alina D" userId="24a60029abdc116d" providerId="LiveId" clId="{162D3661-38AC-43C0-9102-0FF0CDDBDC47}" dt="2018-04-29T12:25:25.952" v="13112" actId="478"/>
          <ac:spMkLst>
            <pc:docMk/>
            <pc:sldMk cId="1758302113" sldId="264"/>
            <ac:spMk id="63" creationId="{2C02E53D-72D9-46E5-8E8D-EE773CA1C3E7}"/>
          </ac:spMkLst>
        </pc:spChg>
        <pc:spChg chg="add mod ord">
          <ac:chgData name="Alina D" userId="24a60029abdc116d" providerId="LiveId" clId="{162D3661-38AC-43C0-9102-0FF0CDDBDC47}" dt="2018-04-29T12:25:26.246" v="13417" actId="20577"/>
          <ac:spMkLst>
            <pc:docMk/>
            <pc:sldMk cId="1758302113" sldId="264"/>
            <ac:spMk id="65" creationId="{36519AC6-70D7-4B65-8095-DCBEB6F66F58}"/>
          </ac:spMkLst>
        </pc:spChg>
        <pc:spChg chg="mod ord">
          <ac:chgData name="Alina D" userId="24a60029abdc116d" providerId="LiveId" clId="{162D3661-38AC-43C0-9102-0FF0CDDBDC47}" dt="2018-04-29T12:25:26.246" v="13418" actId="20577"/>
          <ac:spMkLst>
            <pc:docMk/>
            <pc:sldMk cId="1758302113" sldId="264"/>
            <ac:spMk id="66" creationId="{0F3F8BE1-40F6-4838-9637-6D571013E3BC}"/>
          </ac:spMkLst>
        </pc:spChg>
        <pc:spChg chg="mod ord">
          <ac:chgData name="Alina D" userId="24a60029abdc116d" providerId="LiveId" clId="{162D3661-38AC-43C0-9102-0FF0CDDBDC47}" dt="2018-04-29T12:25:26.246" v="13419" actId="20577"/>
          <ac:spMkLst>
            <pc:docMk/>
            <pc:sldMk cId="1758302113" sldId="264"/>
            <ac:spMk id="67" creationId="{9D1957AE-D90C-40AA-BBA2-9C676E0212E4}"/>
          </ac:spMkLst>
        </pc:spChg>
        <pc:spChg chg="mod ord">
          <ac:chgData name="Alina D" userId="24a60029abdc116d" providerId="LiveId" clId="{162D3661-38AC-43C0-9102-0FF0CDDBDC47}" dt="2018-04-29T12:25:26.246" v="13422" actId="20577"/>
          <ac:spMkLst>
            <pc:docMk/>
            <pc:sldMk cId="1758302113" sldId="264"/>
            <ac:spMk id="70" creationId="{4AC9F924-B70D-4C88-B301-E11A1EC68741}"/>
          </ac:spMkLst>
        </pc:spChg>
        <pc:spChg chg="mod ord">
          <ac:chgData name="Alina D" userId="24a60029abdc116d" providerId="LiveId" clId="{162D3661-38AC-43C0-9102-0FF0CDDBDC47}" dt="2018-04-29T12:25:26.246" v="13423" actId="20577"/>
          <ac:spMkLst>
            <pc:docMk/>
            <pc:sldMk cId="1758302113" sldId="264"/>
            <ac:spMk id="71" creationId="{A29B852A-B15A-491C-ABFB-EAA73EF23557}"/>
          </ac:spMkLst>
        </pc:spChg>
        <pc:spChg chg="mod ord">
          <ac:chgData name="Alina D" userId="24a60029abdc116d" providerId="LiveId" clId="{162D3661-38AC-43C0-9102-0FF0CDDBDC47}" dt="2018-04-29T12:25:26.246" v="13424" actId="20577"/>
          <ac:spMkLst>
            <pc:docMk/>
            <pc:sldMk cId="1758302113" sldId="264"/>
            <ac:spMk id="72" creationId="{51E5AEFD-B6A2-4190-916B-59A8CC032EEB}"/>
          </ac:spMkLst>
        </pc:spChg>
        <pc:spChg chg="mod ord">
          <ac:chgData name="Alina D" userId="24a60029abdc116d" providerId="LiveId" clId="{162D3661-38AC-43C0-9102-0FF0CDDBDC47}" dt="2018-04-29T12:25:26.246" v="13425" actId="20577"/>
          <ac:spMkLst>
            <pc:docMk/>
            <pc:sldMk cId="1758302113" sldId="264"/>
            <ac:spMk id="73" creationId="{B0F5FD95-9F34-4402-B1D8-A0F72FC16796}"/>
          </ac:spMkLst>
        </pc:spChg>
        <pc:spChg chg="mod ord">
          <ac:chgData name="Alina D" userId="24a60029abdc116d" providerId="LiveId" clId="{162D3661-38AC-43C0-9102-0FF0CDDBDC47}" dt="2018-04-29T12:25:26.246" v="13426" actId="20577"/>
          <ac:spMkLst>
            <pc:docMk/>
            <pc:sldMk cId="1758302113" sldId="264"/>
            <ac:spMk id="74" creationId="{C2CAA428-1894-4217-A10B-C30E527DE160}"/>
          </ac:spMkLst>
        </pc:spChg>
        <pc:spChg chg="mod ord">
          <ac:chgData name="Alina D" userId="24a60029abdc116d" providerId="LiveId" clId="{162D3661-38AC-43C0-9102-0FF0CDDBDC47}" dt="2018-04-29T12:25:26.246" v="13427" actId="20577"/>
          <ac:spMkLst>
            <pc:docMk/>
            <pc:sldMk cId="1758302113" sldId="264"/>
            <ac:spMk id="75" creationId="{962D4026-0CBF-4806-9F1A-768EFBDC226C}"/>
          </ac:spMkLst>
        </pc:spChg>
        <pc:spChg chg="mod ord">
          <ac:chgData name="Alina D" userId="24a60029abdc116d" providerId="LiveId" clId="{162D3661-38AC-43C0-9102-0FF0CDDBDC47}" dt="2018-04-29T12:25:26.246" v="13428" actId="20577"/>
          <ac:spMkLst>
            <pc:docMk/>
            <pc:sldMk cId="1758302113" sldId="264"/>
            <ac:spMk id="76" creationId="{971CC0F3-3DCF-4E4E-9377-40A83E4BFBC7}"/>
          </ac:spMkLst>
        </pc:spChg>
        <pc:spChg chg="mod ord">
          <ac:chgData name="Alina D" userId="24a60029abdc116d" providerId="LiveId" clId="{162D3661-38AC-43C0-9102-0FF0CDDBDC47}" dt="2018-04-29T12:25:26.246" v="13429" actId="20577"/>
          <ac:spMkLst>
            <pc:docMk/>
            <pc:sldMk cId="1758302113" sldId="264"/>
            <ac:spMk id="77" creationId="{26275BFC-1E30-4AA4-B671-9C3AB5088F02}"/>
          </ac:spMkLst>
        </pc:spChg>
        <pc:cxnChg chg="del mod ord">
          <ac:chgData name="Alina D" userId="24a60029abdc116d" providerId="LiveId" clId="{162D3661-38AC-43C0-9102-0FF0CDDBDC47}" dt="2018-04-29T11:57:58.529" v="3821" actId="478"/>
          <ac:cxnSpMkLst>
            <pc:docMk/>
            <pc:sldMk cId="1758302113" sldId="264"/>
            <ac:cxnSpMk id="5" creationId="{F01B55B5-5718-4EF9-ACD9-9ABCF55DA047}"/>
          </ac:cxnSpMkLst>
        </pc:cxnChg>
        <pc:cxnChg chg="del mod ord">
          <ac:chgData name="Alina D" userId="24a60029abdc116d" providerId="LiveId" clId="{162D3661-38AC-43C0-9102-0FF0CDDBDC47}" dt="2018-04-29T11:57:58.529" v="3822" actId="478"/>
          <ac:cxnSpMkLst>
            <pc:docMk/>
            <pc:sldMk cId="1758302113" sldId="264"/>
            <ac:cxnSpMk id="6" creationId="{79C38FE0-70CE-4878-A052-7E54D938DDA8}"/>
          </ac:cxnSpMkLst>
        </pc:cxnChg>
        <pc:cxnChg chg="del mod ord">
          <ac:chgData name="Alina D" userId="24a60029abdc116d" providerId="LiveId" clId="{162D3661-38AC-43C0-9102-0FF0CDDBDC47}" dt="2018-04-29T11:58:12.358" v="6785" actId="478"/>
          <ac:cxnSpMkLst>
            <pc:docMk/>
            <pc:sldMk cId="1758302113" sldId="264"/>
            <ac:cxnSpMk id="21" creationId="{34D6B16F-8DF0-4750-87C9-D6D72A6B8DEC}"/>
          </ac:cxnSpMkLst>
        </pc:cxnChg>
        <pc:cxnChg chg="del mod ord">
          <ac:chgData name="Alina D" userId="24a60029abdc116d" providerId="LiveId" clId="{162D3661-38AC-43C0-9102-0FF0CDDBDC47}" dt="2018-04-29T11:58:12.358" v="6786" actId="478"/>
          <ac:cxnSpMkLst>
            <pc:docMk/>
            <pc:sldMk cId="1758302113" sldId="264"/>
            <ac:cxnSpMk id="22" creationId="{21149763-8275-40F6-87F0-6F1717725ADC}"/>
          </ac:cxnSpMkLst>
        </pc:cxnChg>
        <pc:cxnChg chg="del mod ord">
          <ac:chgData name="Alina D" userId="24a60029abdc116d" providerId="LiveId" clId="{162D3661-38AC-43C0-9102-0FF0CDDBDC47}" dt="2018-04-29T12:24:41.141" v="11312" actId="478"/>
          <ac:cxnSpMkLst>
            <pc:docMk/>
            <pc:sldMk cId="1758302113" sldId="264"/>
            <ac:cxnSpMk id="37" creationId="{304BBDB0-9B85-4E6A-A85C-2DEC17834C3C}"/>
          </ac:cxnSpMkLst>
        </pc:cxnChg>
        <pc:cxnChg chg="del mod ord">
          <ac:chgData name="Alina D" userId="24a60029abdc116d" providerId="LiveId" clId="{162D3661-38AC-43C0-9102-0FF0CDDBDC47}" dt="2018-04-29T12:24:41.141" v="11313" actId="478"/>
          <ac:cxnSpMkLst>
            <pc:docMk/>
            <pc:sldMk cId="1758302113" sldId="264"/>
            <ac:cxnSpMk id="38" creationId="{67BF9A45-9A66-480B-8B2F-79413C554E33}"/>
          </ac:cxnSpMkLst>
        </pc:cxnChg>
        <pc:cxnChg chg="del mod ord">
          <ac:chgData name="Alina D" userId="24a60029abdc116d" providerId="LiveId" clId="{162D3661-38AC-43C0-9102-0FF0CDDBDC47}" dt="2018-04-29T12:25:25.951" v="13103" actId="478"/>
          <ac:cxnSpMkLst>
            <pc:docMk/>
            <pc:sldMk cId="1758302113" sldId="264"/>
            <ac:cxnSpMk id="54" creationId="{3AADD395-7769-4C76-8CB1-98FF379447BC}"/>
          </ac:cxnSpMkLst>
        </pc:cxnChg>
        <pc:cxnChg chg="del mod ord">
          <ac:chgData name="Alina D" userId="24a60029abdc116d" providerId="LiveId" clId="{162D3661-38AC-43C0-9102-0FF0CDDBDC47}" dt="2018-04-29T12:25:25.951" v="13104" actId="478"/>
          <ac:cxnSpMkLst>
            <pc:docMk/>
            <pc:sldMk cId="1758302113" sldId="264"/>
            <ac:cxnSpMk id="55" creationId="{F466DE89-AF8F-4B08-BA63-855C68D8FFE1}"/>
          </ac:cxnSpMkLst>
        </pc:cxnChg>
        <pc:cxnChg chg="mod ord">
          <ac:chgData name="Alina D" userId="24a60029abdc116d" providerId="LiveId" clId="{162D3661-38AC-43C0-9102-0FF0CDDBDC47}" dt="2018-04-29T12:25:26.246" v="13420" actId="20577"/>
          <ac:cxnSpMkLst>
            <pc:docMk/>
            <pc:sldMk cId="1758302113" sldId="264"/>
            <ac:cxnSpMk id="68" creationId="{083F5E8A-0761-482F-991B-462B9586BE4F}"/>
          </ac:cxnSpMkLst>
        </pc:cxnChg>
        <pc:cxnChg chg="mod ord">
          <ac:chgData name="Alina D" userId="24a60029abdc116d" providerId="LiveId" clId="{162D3661-38AC-43C0-9102-0FF0CDDBDC47}" dt="2018-04-29T12:25:26.246" v="13421" actId="20577"/>
          <ac:cxnSpMkLst>
            <pc:docMk/>
            <pc:sldMk cId="1758302113" sldId="264"/>
            <ac:cxnSpMk id="69" creationId="{50439E6F-37AE-4946-B9F7-6FD1B94B9111}"/>
          </ac:cxnSpMkLst>
        </pc:cxnChg>
      </pc:sldChg>
      <pc:sldChg chg="addSp delSp modSp">
        <pc:chgData name="Alina D" userId="24a60029abdc116d" providerId="LiveId" clId="{162D3661-38AC-43C0-9102-0FF0CDDBDC47}" dt="2018-04-29T12:25:26.459" v="13638" actId="20577"/>
        <pc:sldMkLst>
          <pc:docMk/>
          <pc:sldMk cId="2044485203" sldId="266"/>
        </pc:sldMkLst>
        <pc:spChg chg="del mod ord">
          <ac:chgData name="Alina D" userId="24a60029abdc116d" providerId="LiveId" clId="{162D3661-38AC-43C0-9102-0FF0CDDBDC47}" dt="2018-04-29T11:57:58.546" v="3848" actId="478"/>
          <ac:spMkLst>
            <pc:docMk/>
            <pc:sldMk cId="2044485203" sldId="266"/>
            <ac:spMk id="2" creationId="{F450FC63-11BC-47D7-B92C-617648660752}"/>
          </ac:spMkLst>
        </pc:spChg>
        <pc:spChg chg="del mod ord">
          <ac:chgData name="Alina D" userId="24a60029abdc116d" providerId="LiveId" clId="{162D3661-38AC-43C0-9102-0FF0CDDBDC47}" dt="2018-04-29T11:57:58.546" v="3849" actId="478"/>
          <ac:spMkLst>
            <pc:docMk/>
            <pc:sldMk cId="2044485203" sldId="266"/>
            <ac:spMk id="3" creationId="{2CA27417-4B46-408B-B0EE-8E5773D04A9D}"/>
          </ac:spMkLst>
        </pc:spChg>
        <pc:spChg chg="del mod ord">
          <ac:chgData name="Alina D" userId="24a60029abdc116d" providerId="LiveId" clId="{162D3661-38AC-43C0-9102-0FF0CDDBDC47}" dt="2018-04-29T11:57:58.546" v="3850" actId="478"/>
          <ac:spMkLst>
            <pc:docMk/>
            <pc:sldMk cId="2044485203" sldId="266"/>
            <ac:spMk id="4" creationId="{8354DA7E-6BF7-4BED-9608-619F8DFE9B0A}"/>
          </ac:spMkLst>
        </pc:spChg>
        <pc:spChg chg="del mod ord">
          <ac:chgData name="Alina D" userId="24a60029abdc116d" providerId="LiveId" clId="{162D3661-38AC-43C0-9102-0FF0CDDBDC47}" dt="2018-04-29T11:57:58.546" v="3851" actId="478"/>
          <ac:spMkLst>
            <pc:docMk/>
            <pc:sldMk cId="2044485203" sldId="266"/>
            <ac:spMk id="5" creationId="{6E555721-389F-495A-854F-AF79053FB645}"/>
          </ac:spMkLst>
        </pc:spChg>
        <pc:spChg chg="del mod ord">
          <ac:chgData name="Alina D" userId="24a60029abdc116d" providerId="LiveId" clId="{162D3661-38AC-43C0-9102-0FF0CDDBDC47}" dt="2018-04-29T11:57:58.546" v="3852" actId="478"/>
          <ac:spMkLst>
            <pc:docMk/>
            <pc:sldMk cId="2044485203" sldId="266"/>
            <ac:spMk id="6" creationId="{4D9B495C-ED82-4BC8-AF3A-3DA46AABBE20}"/>
          </ac:spMkLst>
        </pc:spChg>
        <pc:spChg chg="del mod ord">
          <ac:chgData name="Alina D" userId="24a60029abdc116d" providerId="LiveId" clId="{162D3661-38AC-43C0-9102-0FF0CDDBDC47}" dt="2018-04-29T11:57:58.546" v="3853" actId="478"/>
          <ac:spMkLst>
            <pc:docMk/>
            <pc:sldMk cId="2044485203" sldId="266"/>
            <ac:spMk id="7" creationId="{2356B845-2EC5-4BB2-95EA-D34469A510A7}"/>
          </ac:spMkLst>
        </pc:spChg>
        <pc:spChg chg="del mod ord">
          <ac:chgData name="Alina D" userId="24a60029abdc116d" providerId="LiveId" clId="{162D3661-38AC-43C0-9102-0FF0CDDBDC47}" dt="2018-04-29T11:57:58.546" v="3854" actId="478"/>
          <ac:spMkLst>
            <pc:docMk/>
            <pc:sldMk cId="2044485203" sldId="266"/>
            <ac:spMk id="8" creationId="{C9328A86-8D22-4168-9C0E-6A52F4FC50E5}"/>
          </ac:spMkLst>
        </pc:spChg>
        <pc:spChg chg="del mod ord">
          <ac:chgData name="Alina D" userId="24a60029abdc116d" providerId="LiveId" clId="{162D3661-38AC-43C0-9102-0FF0CDDBDC47}" dt="2018-04-29T11:57:58.546" v="3857" actId="478"/>
          <ac:spMkLst>
            <pc:docMk/>
            <pc:sldMk cId="2044485203" sldId="266"/>
            <ac:spMk id="11" creationId="{7F005357-5F6A-4764-9B4D-CBD3A3E1FE89}"/>
          </ac:spMkLst>
        </pc:spChg>
        <pc:spChg chg="del mod ord">
          <ac:chgData name="Alina D" userId="24a60029abdc116d" providerId="LiveId" clId="{162D3661-38AC-43C0-9102-0FF0CDDBDC47}" dt="2018-04-29T11:57:58.561" v="3858" actId="478"/>
          <ac:spMkLst>
            <pc:docMk/>
            <pc:sldMk cId="2044485203" sldId="266"/>
            <ac:spMk id="12" creationId="{E1EEF527-667E-49E8-9B67-89096CF53A9D}"/>
          </ac:spMkLst>
        </pc:spChg>
        <pc:spChg chg="del mod ord">
          <ac:chgData name="Alina D" userId="24a60029abdc116d" providerId="LiveId" clId="{162D3661-38AC-43C0-9102-0FF0CDDBDC47}" dt="2018-04-29T11:57:58.561" v="3859" actId="478"/>
          <ac:spMkLst>
            <pc:docMk/>
            <pc:sldMk cId="2044485203" sldId="266"/>
            <ac:spMk id="13" creationId="{E8A089AA-C9EA-43C4-A837-A224E92D6C24}"/>
          </ac:spMkLst>
        </pc:spChg>
        <pc:spChg chg="del mod ord">
          <ac:chgData name="Alina D" userId="24a60029abdc116d" providerId="LiveId" clId="{162D3661-38AC-43C0-9102-0FF0CDDBDC47}" dt="2018-04-29T11:57:58.561" v="3860" actId="478"/>
          <ac:spMkLst>
            <pc:docMk/>
            <pc:sldMk cId="2044485203" sldId="266"/>
            <ac:spMk id="14" creationId="{9D6FF095-A473-4917-82CF-EA8203EB2C2A}"/>
          </ac:spMkLst>
        </pc:spChg>
        <pc:spChg chg="del mod ord">
          <ac:chgData name="Alina D" userId="24a60029abdc116d" providerId="LiveId" clId="{162D3661-38AC-43C0-9102-0FF0CDDBDC47}" dt="2018-04-29T11:57:58.561" v="3861" actId="478"/>
          <ac:spMkLst>
            <pc:docMk/>
            <pc:sldMk cId="2044485203" sldId="266"/>
            <ac:spMk id="15" creationId="{ADE52DB4-247A-4A82-ADAA-F5B5A226E780}"/>
          </ac:spMkLst>
        </pc:spChg>
        <pc:spChg chg="del mod ord">
          <ac:chgData name="Alina D" userId="24a60029abdc116d" providerId="LiveId" clId="{162D3661-38AC-43C0-9102-0FF0CDDBDC47}" dt="2018-04-29T11:57:58.561" v="3862" actId="478"/>
          <ac:spMkLst>
            <pc:docMk/>
            <pc:sldMk cId="2044485203" sldId="266"/>
            <ac:spMk id="16" creationId="{330C60DC-1300-48EB-A557-D40D19E064FC}"/>
          </ac:spMkLst>
        </pc:spChg>
        <pc:spChg chg="del mod ord">
          <ac:chgData name="Alina D" userId="24a60029abdc116d" providerId="LiveId" clId="{162D3661-38AC-43C0-9102-0FF0CDDBDC47}" dt="2018-04-29T11:57:58.561" v="3863" actId="478"/>
          <ac:spMkLst>
            <pc:docMk/>
            <pc:sldMk cId="2044485203" sldId="266"/>
            <ac:spMk id="17" creationId="{30F86343-6501-4B1D-B9CB-C74639DF7A07}"/>
          </ac:spMkLst>
        </pc:spChg>
        <pc:spChg chg="del mod ord">
          <ac:chgData name="Alina D" userId="24a60029abdc116d" providerId="LiveId" clId="{162D3661-38AC-43C0-9102-0FF0CDDBDC47}" dt="2018-04-29T11:57:58.561" v="3864" actId="478"/>
          <ac:spMkLst>
            <pc:docMk/>
            <pc:sldMk cId="2044485203" sldId="266"/>
            <ac:spMk id="18" creationId="{E39FD337-AD83-4E7C-9E05-7FBDEFDEB4D6}"/>
          </ac:spMkLst>
        </pc:spChg>
        <pc:spChg chg="del mod ord">
          <ac:chgData name="Alina D" userId="24a60029abdc116d" providerId="LiveId" clId="{162D3661-38AC-43C0-9102-0FF0CDDBDC47}" dt="2018-04-29T11:57:58.561" v="3865" actId="478"/>
          <ac:spMkLst>
            <pc:docMk/>
            <pc:sldMk cId="2044485203" sldId="266"/>
            <ac:spMk id="19" creationId="{6261E275-907E-4611-8002-E882FE8CF70A}"/>
          </ac:spMkLst>
        </pc:spChg>
        <pc:spChg chg="del mod ord">
          <ac:chgData name="Alina D" userId="24a60029abdc116d" providerId="LiveId" clId="{162D3661-38AC-43C0-9102-0FF0CDDBDC47}" dt="2018-04-29T11:57:58.561" v="3866" actId="478"/>
          <ac:spMkLst>
            <pc:docMk/>
            <pc:sldMk cId="2044485203" sldId="266"/>
            <ac:spMk id="20" creationId="{F62E2541-1617-444F-B85B-6C6DB265682D}"/>
          </ac:spMkLst>
        </pc:spChg>
        <pc:spChg chg="del mod ord">
          <ac:chgData name="Alina D" userId="24a60029abdc116d" providerId="LiveId" clId="{162D3661-38AC-43C0-9102-0FF0CDDBDC47}" dt="2018-04-29T11:57:58.561" v="3867" actId="478"/>
          <ac:spMkLst>
            <pc:docMk/>
            <pc:sldMk cId="2044485203" sldId="266"/>
            <ac:spMk id="21" creationId="{29543CD2-696C-4A04-BB1A-D10EF53270EE}"/>
          </ac:spMkLst>
        </pc:spChg>
        <pc:spChg chg="del mod ord">
          <ac:chgData name="Alina D" userId="24a60029abdc116d" providerId="LiveId" clId="{162D3661-38AC-43C0-9102-0FF0CDDBDC47}" dt="2018-04-29T11:57:58.561" v="3868" actId="478"/>
          <ac:spMkLst>
            <pc:docMk/>
            <pc:sldMk cId="2044485203" sldId="266"/>
            <ac:spMk id="22" creationId="{D97A339B-C03C-48E3-A854-1809E60E5F6E}"/>
          </ac:spMkLst>
        </pc:spChg>
        <pc:spChg chg="add del mod ord">
          <ac:chgData name="Alina D" userId="24a60029abdc116d" providerId="LiveId" clId="{162D3661-38AC-43C0-9102-0FF0CDDBDC47}" dt="2018-04-29T11:58:12.374" v="6812" actId="478"/>
          <ac:spMkLst>
            <pc:docMk/>
            <pc:sldMk cId="2044485203" sldId="266"/>
            <ac:spMk id="24" creationId="{F8A43E25-6117-433C-884C-71FCFBFE45AD}"/>
          </ac:spMkLst>
        </pc:spChg>
        <pc:spChg chg="del mod ord">
          <ac:chgData name="Alina D" userId="24a60029abdc116d" providerId="LiveId" clId="{162D3661-38AC-43C0-9102-0FF0CDDBDC47}" dt="2018-04-29T11:58:12.374" v="6813" actId="478"/>
          <ac:spMkLst>
            <pc:docMk/>
            <pc:sldMk cId="2044485203" sldId="266"/>
            <ac:spMk id="25" creationId="{8BE95FB0-A259-496B-80AD-F68630558410}"/>
          </ac:spMkLst>
        </pc:spChg>
        <pc:spChg chg="del mod ord">
          <ac:chgData name="Alina D" userId="24a60029abdc116d" providerId="LiveId" clId="{162D3661-38AC-43C0-9102-0FF0CDDBDC47}" dt="2018-04-29T11:58:12.374" v="6814" actId="478"/>
          <ac:spMkLst>
            <pc:docMk/>
            <pc:sldMk cId="2044485203" sldId="266"/>
            <ac:spMk id="26" creationId="{FEB02EF8-0288-4646-9CF3-598BCC13D4F1}"/>
          </ac:spMkLst>
        </pc:spChg>
        <pc:spChg chg="del mod ord">
          <ac:chgData name="Alina D" userId="24a60029abdc116d" providerId="LiveId" clId="{162D3661-38AC-43C0-9102-0FF0CDDBDC47}" dt="2018-04-29T11:58:12.374" v="6815" actId="478"/>
          <ac:spMkLst>
            <pc:docMk/>
            <pc:sldMk cId="2044485203" sldId="266"/>
            <ac:spMk id="27" creationId="{A8CDAE4F-F329-41DB-9B17-0AA3FC5812A3}"/>
          </ac:spMkLst>
        </pc:spChg>
        <pc:spChg chg="del mod ord">
          <ac:chgData name="Alina D" userId="24a60029abdc116d" providerId="LiveId" clId="{162D3661-38AC-43C0-9102-0FF0CDDBDC47}" dt="2018-04-29T11:58:12.374" v="6816" actId="478"/>
          <ac:spMkLst>
            <pc:docMk/>
            <pc:sldMk cId="2044485203" sldId="266"/>
            <ac:spMk id="28" creationId="{3CE493DE-344F-4698-94C4-EA7B1FDF0E37}"/>
          </ac:spMkLst>
        </pc:spChg>
        <pc:spChg chg="del mod ord">
          <ac:chgData name="Alina D" userId="24a60029abdc116d" providerId="LiveId" clId="{162D3661-38AC-43C0-9102-0FF0CDDBDC47}" dt="2018-04-29T11:58:12.374" v="6817" actId="478"/>
          <ac:spMkLst>
            <pc:docMk/>
            <pc:sldMk cId="2044485203" sldId="266"/>
            <ac:spMk id="29" creationId="{A35DFD9B-D8D7-450A-BA00-0D2B44891F72}"/>
          </ac:spMkLst>
        </pc:spChg>
        <pc:spChg chg="del mod ord">
          <ac:chgData name="Alina D" userId="24a60029abdc116d" providerId="LiveId" clId="{162D3661-38AC-43C0-9102-0FF0CDDBDC47}" dt="2018-04-29T11:58:12.374" v="6818" actId="478"/>
          <ac:spMkLst>
            <pc:docMk/>
            <pc:sldMk cId="2044485203" sldId="266"/>
            <ac:spMk id="30" creationId="{1D4D29F6-DA75-43BF-8B15-2904A8CF9B36}"/>
          </ac:spMkLst>
        </pc:spChg>
        <pc:spChg chg="del mod ord">
          <ac:chgData name="Alina D" userId="24a60029abdc116d" providerId="LiveId" clId="{162D3661-38AC-43C0-9102-0FF0CDDBDC47}" dt="2018-04-29T11:58:12.374" v="6821" actId="478"/>
          <ac:spMkLst>
            <pc:docMk/>
            <pc:sldMk cId="2044485203" sldId="266"/>
            <ac:spMk id="33" creationId="{D0B2435C-2BE9-4F34-B34B-EA41FBBDEC82}"/>
          </ac:spMkLst>
        </pc:spChg>
        <pc:spChg chg="del mod ord">
          <ac:chgData name="Alina D" userId="24a60029abdc116d" providerId="LiveId" clId="{162D3661-38AC-43C0-9102-0FF0CDDBDC47}" dt="2018-04-29T11:58:12.374" v="6822" actId="478"/>
          <ac:spMkLst>
            <pc:docMk/>
            <pc:sldMk cId="2044485203" sldId="266"/>
            <ac:spMk id="34" creationId="{01359ECF-4433-46C6-A274-7CE7FEF1D0A8}"/>
          </ac:spMkLst>
        </pc:spChg>
        <pc:spChg chg="del mod ord">
          <ac:chgData name="Alina D" userId="24a60029abdc116d" providerId="LiveId" clId="{162D3661-38AC-43C0-9102-0FF0CDDBDC47}" dt="2018-04-29T11:58:12.374" v="6823" actId="478"/>
          <ac:spMkLst>
            <pc:docMk/>
            <pc:sldMk cId="2044485203" sldId="266"/>
            <ac:spMk id="35" creationId="{9591379B-6075-44DA-9514-B422205333E8}"/>
          </ac:spMkLst>
        </pc:spChg>
        <pc:spChg chg="del mod ord">
          <ac:chgData name="Alina D" userId="24a60029abdc116d" providerId="LiveId" clId="{162D3661-38AC-43C0-9102-0FF0CDDBDC47}" dt="2018-04-29T11:58:12.374" v="6824" actId="478"/>
          <ac:spMkLst>
            <pc:docMk/>
            <pc:sldMk cId="2044485203" sldId="266"/>
            <ac:spMk id="36" creationId="{4E58A5D0-3D11-46D1-963B-916B14C6C1E3}"/>
          </ac:spMkLst>
        </pc:spChg>
        <pc:spChg chg="del mod ord">
          <ac:chgData name="Alina D" userId="24a60029abdc116d" providerId="LiveId" clId="{162D3661-38AC-43C0-9102-0FF0CDDBDC47}" dt="2018-04-29T11:58:12.374" v="6825" actId="478"/>
          <ac:spMkLst>
            <pc:docMk/>
            <pc:sldMk cId="2044485203" sldId="266"/>
            <ac:spMk id="37" creationId="{E8D01836-82B6-4339-994F-B29584926EB2}"/>
          </ac:spMkLst>
        </pc:spChg>
        <pc:spChg chg="del mod ord">
          <ac:chgData name="Alina D" userId="24a60029abdc116d" providerId="LiveId" clId="{162D3661-38AC-43C0-9102-0FF0CDDBDC47}" dt="2018-04-29T11:58:12.374" v="6826" actId="478"/>
          <ac:spMkLst>
            <pc:docMk/>
            <pc:sldMk cId="2044485203" sldId="266"/>
            <ac:spMk id="38" creationId="{7E45BA53-4BC9-439B-910A-84B9230DDD1B}"/>
          </ac:spMkLst>
        </pc:spChg>
        <pc:spChg chg="del mod ord">
          <ac:chgData name="Alina D" userId="24a60029abdc116d" providerId="LiveId" clId="{162D3661-38AC-43C0-9102-0FF0CDDBDC47}" dt="2018-04-29T11:58:12.374" v="6827" actId="478"/>
          <ac:spMkLst>
            <pc:docMk/>
            <pc:sldMk cId="2044485203" sldId="266"/>
            <ac:spMk id="39" creationId="{254A8849-E832-45C8-9277-DBB99042A9E0}"/>
          </ac:spMkLst>
        </pc:spChg>
        <pc:spChg chg="del mod ord">
          <ac:chgData name="Alina D" userId="24a60029abdc116d" providerId="LiveId" clId="{162D3661-38AC-43C0-9102-0FF0CDDBDC47}" dt="2018-04-29T11:58:12.374" v="6828" actId="478"/>
          <ac:spMkLst>
            <pc:docMk/>
            <pc:sldMk cId="2044485203" sldId="266"/>
            <ac:spMk id="40" creationId="{B4C2F8C6-1450-4F51-B3CA-A24239569B42}"/>
          </ac:spMkLst>
        </pc:spChg>
        <pc:spChg chg="del mod ord">
          <ac:chgData name="Alina D" userId="24a60029abdc116d" providerId="LiveId" clId="{162D3661-38AC-43C0-9102-0FF0CDDBDC47}" dt="2018-04-29T11:58:12.374" v="6829" actId="478"/>
          <ac:spMkLst>
            <pc:docMk/>
            <pc:sldMk cId="2044485203" sldId="266"/>
            <ac:spMk id="41" creationId="{32A01002-B68B-4B13-B797-92ABBFBB748D}"/>
          </ac:spMkLst>
        </pc:spChg>
        <pc:spChg chg="del mod ord">
          <ac:chgData name="Alina D" userId="24a60029abdc116d" providerId="LiveId" clId="{162D3661-38AC-43C0-9102-0FF0CDDBDC47}" dt="2018-04-29T11:58:12.374" v="6830" actId="478"/>
          <ac:spMkLst>
            <pc:docMk/>
            <pc:sldMk cId="2044485203" sldId="266"/>
            <ac:spMk id="42" creationId="{B7C2B3B2-6431-4DB9-9427-26281636D19B}"/>
          </ac:spMkLst>
        </pc:spChg>
        <pc:spChg chg="del mod ord">
          <ac:chgData name="Alina D" userId="24a60029abdc116d" providerId="LiveId" clId="{162D3661-38AC-43C0-9102-0FF0CDDBDC47}" dt="2018-04-29T11:58:12.374" v="6831" actId="478"/>
          <ac:spMkLst>
            <pc:docMk/>
            <pc:sldMk cId="2044485203" sldId="266"/>
            <ac:spMk id="43" creationId="{86B84690-8AEC-4F27-AF1A-98F25904FAA8}"/>
          </ac:spMkLst>
        </pc:spChg>
        <pc:spChg chg="del mod ord">
          <ac:chgData name="Alina D" userId="24a60029abdc116d" providerId="LiveId" clId="{162D3661-38AC-43C0-9102-0FF0CDDBDC47}" dt="2018-04-29T11:58:12.374" v="6832" actId="478"/>
          <ac:spMkLst>
            <pc:docMk/>
            <pc:sldMk cId="2044485203" sldId="266"/>
            <ac:spMk id="44" creationId="{D662536F-F9C8-49DA-926C-A87F7CD22F72}"/>
          </ac:spMkLst>
        </pc:spChg>
        <pc:spChg chg="add del mod ord">
          <ac:chgData name="Alina D" userId="24a60029abdc116d" providerId="LiveId" clId="{162D3661-38AC-43C0-9102-0FF0CDDBDC47}" dt="2018-04-29T12:24:41.161" v="11324" actId="478"/>
          <ac:spMkLst>
            <pc:docMk/>
            <pc:sldMk cId="2044485203" sldId="266"/>
            <ac:spMk id="46" creationId="{9B3473E5-1C95-4BBA-ABA3-38A524C15C4A}"/>
          </ac:spMkLst>
        </pc:spChg>
        <pc:spChg chg="del mod ord">
          <ac:chgData name="Alina D" userId="24a60029abdc116d" providerId="LiveId" clId="{162D3661-38AC-43C0-9102-0FF0CDDBDC47}" dt="2018-04-29T12:24:41.161" v="11325" actId="478"/>
          <ac:spMkLst>
            <pc:docMk/>
            <pc:sldMk cId="2044485203" sldId="266"/>
            <ac:spMk id="47" creationId="{3C7EE7E2-284A-40B8-9A07-E40CC79547A9}"/>
          </ac:spMkLst>
        </pc:spChg>
        <pc:spChg chg="del mod ord">
          <ac:chgData name="Alina D" userId="24a60029abdc116d" providerId="LiveId" clId="{162D3661-38AC-43C0-9102-0FF0CDDBDC47}" dt="2018-04-29T12:24:41.161" v="11326" actId="478"/>
          <ac:spMkLst>
            <pc:docMk/>
            <pc:sldMk cId="2044485203" sldId="266"/>
            <ac:spMk id="48" creationId="{43A624E5-560A-486A-9667-7F607B3AFCC1}"/>
          </ac:spMkLst>
        </pc:spChg>
        <pc:spChg chg="del mod ord">
          <ac:chgData name="Alina D" userId="24a60029abdc116d" providerId="LiveId" clId="{162D3661-38AC-43C0-9102-0FF0CDDBDC47}" dt="2018-04-29T12:24:41.161" v="11327" actId="478"/>
          <ac:spMkLst>
            <pc:docMk/>
            <pc:sldMk cId="2044485203" sldId="266"/>
            <ac:spMk id="49" creationId="{7787AAEE-74F9-4516-8A94-15BC9BFAB903}"/>
          </ac:spMkLst>
        </pc:spChg>
        <pc:spChg chg="del mod ord">
          <ac:chgData name="Alina D" userId="24a60029abdc116d" providerId="LiveId" clId="{162D3661-38AC-43C0-9102-0FF0CDDBDC47}" dt="2018-04-29T12:24:41.161" v="11328" actId="478"/>
          <ac:spMkLst>
            <pc:docMk/>
            <pc:sldMk cId="2044485203" sldId="266"/>
            <ac:spMk id="50" creationId="{F11713F9-8395-444C-BFD8-148A42AE5459}"/>
          </ac:spMkLst>
        </pc:spChg>
        <pc:spChg chg="del mod ord">
          <ac:chgData name="Alina D" userId="24a60029abdc116d" providerId="LiveId" clId="{162D3661-38AC-43C0-9102-0FF0CDDBDC47}" dt="2018-04-29T12:24:41.161" v="11329" actId="478"/>
          <ac:spMkLst>
            <pc:docMk/>
            <pc:sldMk cId="2044485203" sldId="266"/>
            <ac:spMk id="51" creationId="{65FD052C-7AC0-42D4-A488-C3DBF4202BA3}"/>
          </ac:spMkLst>
        </pc:spChg>
        <pc:spChg chg="del mod ord">
          <ac:chgData name="Alina D" userId="24a60029abdc116d" providerId="LiveId" clId="{162D3661-38AC-43C0-9102-0FF0CDDBDC47}" dt="2018-04-29T12:24:41.161" v="11330" actId="478"/>
          <ac:spMkLst>
            <pc:docMk/>
            <pc:sldMk cId="2044485203" sldId="266"/>
            <ac:spMk id="52" creationId="{2EF0DC17-C97A-47B9-82C8-92BE726EBA71}"/>
          </ac:spMkLst>
        </pc:spChg>
        <pc:spChg chg="del mod ord">
          <ac:chgData name="Alina D" userId="24a60029abdc116d" providerId="LiveId" clId="{162D3661-38AC-43C0-9102-0FF0CDDBDC47}" dt="2018-04-29T12:24:41.161" v="11333" actId="478"/>
          <ac:spMkLst>
            <pc:docMk/>
            <pc:sldMk cId="2044485203" sldId="266"/>
            <ac:spMk id="55" creationId="{A866D3CA-EB94-4DEB-AFD8-FF26E66332ED}"/>
          </ac:spMkLst>
        </pc:spChg>
        <pc:spChg chg="del mod ord">
          <ac:chgData name="Alina D" userId="24a60029abdc116d" providerId="LiveId" clId="{162D3661-38AC-43C0-9102-0FF0CDDBDC47}" dt="2018-04-29T12:24:41.161" v="11334" actId="478"/>
          <ac:spMkLst>
            <pc:docMk/>
            <pc:sldMk cId="2044485203" sldId="266"/>
            <ac:spMk id="56" creationId="{F4BE8552-3299-4D16-B1FB-26F6C14E78AA}"/>
          </ac:spMkLst>
        </pc:spChg>
        <pc:spChg chg="del mod ord">
          <ac:chgData name="Alina D" userId="24a60029abdc116d" providerId="LiveId" clId="{162D3661-38AC-43C0-9102-0FF0CDDBDC47}" dt="2018-04-29T12:24:41.161" v="11335" actId="478"/>
          <ac:spMkLst>
            <pc:docMk/>
            <pc:sldMk cId="2044485203" sldId="266"/>
            <ac:spMk id="57" creationId="{0601AF75-75F3-4BFA-940E-6412819DBF30}"/>
          </ac:spMkLst>
        </pc:spChg>
        <pc:spChg chg="del mod ord">
          <ac:chgData name="Alina D" userId="24a60029abdc116d" providerId="LiveId" clId="{162D3661-38AC-43C0-9102-0FF0CDDBDC47}" dt="2018-04-29T12:24:41.161" v="11336" actId="478"/>
          <ac:spMkLst>
            <pc:docMk/>
            <pc:sldMk cId="2044485203" sldId="266"/>
            <ac:spMk id="58" creationId="{CFE2026F-E608-4EA0-946C-6A03E6C5AD73}"/>
          </ac:spMkLst>
        </pc:spChg>
        <pc:spChg chg="del mod ord">
          <ac:chgData name="Alina D" userId="24a60029abdc116d" providerId="LiveId" clId="{162D3661-38AC-43C0-9102-0FF0CDDBDC47}" dt="2018-04-29T12:24:41.173" v="11337" actId="478"/>
          <ac:spMkLst>
            <pc:docMk/>
            <pc:sldMk cId="2044485203" sldId="266"/>
            <ac:spMk id="59" creationId="{0A26BBAB-05FE-4241-B2CD-F8666755732C}"/>
          </ac:spMkLst>
        </pc:spChg>
        <pc:spChg chg="del mod ord">
          <ac:chgData name="Alina D" userId="24a60029abdc116d" providerId="LiveId" clId="{162D3661-38AC-43C0-9102-0FF0CDDBDC47}" dt="2018-04-29T12:24:41.173" v="11338" actId="478"/>
          <ac:spMkLst>
            <pc:docMk/>
            <pc:sldMk cId="2044485203" sldId="266"/>
            <ac:spMk id="60" creationId="{F4130A1B-6978-4CCB-ADBB-F0DF204292D8}"/>
          </ac:spMkLst>
        </pc:spChg>
        <pc:spChg chg="del mod ord">
          <ac:chgData name="Alina D" userId="24a60029abdc116d" providerId="LiveId" clId="{162D3661-38AC-43C0-9102-0FF0CDDBDC47}" dt="2018-04-29T12:24:41.174" v="11339" actId="478"/>
          <ac:spMkLst>
            <pc:docMk/>
            <pc:sldMk cId="2044485203" sldId="266"/>
            <ac:spMk id="61" creationId="{0C0C740A-7F42-4813-89B6-8EA3865C8262}"/>
          </ac:spMkLst>
        </pc:spChg>
        <pc:spChg chg="del mod ord">
          <ac:chgData name="Alina D" userId="24a60029abdc116d" providerId="LiveId" clId="{162D3661-38AC-43C0-9102-0FF0CDDBDC47}" dt="2018-04-29T12:24:41.174" v="11340" actId="478"/>
          <ac:spMkLst>
            <pc:docMk/>
            <pc:sldMk cId="2044485203" sldId="266"/>
            <ac:spMk id="62" creationId="{8BDC31CC-486F-4E7F-9955-AC11FBDDA59B}"/>
          </ac:spMkLst>
        </pc:spChg>
        <pc:spChg chg="del mod ord">
          <ac:chgData name="Alina D" userId="24a60029abdc116d" providerId="LiveId" clId="{162D3661-38AC-43C0-9102-0FF0CDDBDC47}" dt="2018-04-29T12:24:41.174" v="11341" actId="478"/>
          <ac:spMkLst>
            <pc:docMk/>
            <pc:sldMk cId="2044485203" sldId="266"/>
            <ac:spMk id="63" creationId="{3EC24B49-BADA-40AE-92E8-28A844656671}"/>
          </ac:spMkLst>
        </pc:spChg>
        <pc:spChg chg="del mod ord">
          <ac:chgData name="Alina D" userId="24a60029abdc116d" providerId="LiveId" clId="{162D3661-38AC-43C0-9102-0FF0CDDBDC47}" dt="2018-04-29T12:24:41.175" v="11342" actId="478"/>
          <ac:spMkLst>
            <pc:docMk/>
            <pc:sldMk cId="2044485203" sldId="266"/>
            <ac:spMk id="64" creationId="{AA4617CB-9F76-49E4-84E6-EE73F0200F4B}"/>
          </ac:spMkLst>
        </pc:spChg>
        <pc:spChg chg="del mod ord">
          <ac:chgData name="Alina D" userId="24a60029abdc116d" providerId="LiveId" clId="{162D3661-38AC-43C0-9102-0FF0CDDBDC47}" dt="2018-04-29T12:24:41.175" v="11343" actId="478"/>
          <ac:spMkLst>
            <pc:docMk/>
            <pc:sldMk cId="2044485203" sldId="266"/>
            <ac:spMk id="65" creationId="{BA47C2A2-5EC2-4DB5-832D-46952A8CC7DA}"/>
          </ac:spMkLst>
        </pc:spChg>
        <pc:spChg chg="del mod ord">
          <ac:chgData name="Alina D" userId="24a60029abdc116d" providerId="LiveId" clId="{162D3661-38AC-43C0-9102-0FF0CDDBDC47}" dt="2018-04-29T12:24:41.176" v="11344" actId="478"/>
          <ac:spMkLst>
            <pc:docMk/>
            <pc:sldMk cId="2044485203" sldId="266"/>
            <ac:spMk id="66" creationId="{F7D69E95-5530-44A9-B7A5-BCFD2E65159F}"/>
          </ac:spMkLst>
        </pc:spChg>
        <pc:spChg chg="add del mod ord">
          <ac:chgData name="Alina D" userId="24a60029abdc116d" providerId="LiveId" clId="{162D3661-38AC-43C0-9102-0FF0CDDBDC47}" dt="2018-04-29T12:25:25.952" v="13113" actId="478"/>
          <ac:spMkLst>
            <pc:docMk/>
            <pc:sldMk cId="2044485203" sldId="266"/>
            <ac:spMk id="69" creationId="{B0BC2F24-78A5-486E-9D69-B0EAEBC13235}"/>
          </ac:spMkLst>
        </pc:spChg>
        <pc:spChg chg="del mod ord">
          <ac:chgData name="Alina D" userId="24a60029abdc116d" providerId="LiveId" clId="{162D3661-38AC-43C0-9102-0FF0CDDBDC47}" dt="2018-04-29T12:25:25.952" v="13114" actId="478"/>
          <ac:spMkLst>
            <pc:docMk/>
            <pc:sldMk cId="2044485203" sldId="266"/>
            <ac:spMk id="70" creationId="{EBA08D34-6BAD-4156-8525-9035EA63C9F1}"/>
          </ac:spMkLst>
        </pc:spChg>
        <pc:spChg chg="del mod ord">
          <ac:chgData name="Alina D" userId="24a60029abdc116d" providerId="LiveId" clId="{162D3661-38AC-43C0-9102-0FF0CDDBDC47}" dt="2018-04-29T12:25:25.952" v="13115" actId="478"/>
          <ac:spMkLst>
            <pc:docMk/>
            <pc:sldMk cId="2044485203" sldId="266"/>
            <ac:spMk id="71" creationId="{5CBCFEE9-FA60-4A8C-9B7F-C6172FD67AA3}"/>
          </ac:spMkLst>
        </pc:spChg>
        <pc:spChg chg="del mod ord">
          <ac:chgData name="Alina D" userId="24a60029abdc116d" providerId="LiveId" clId="{162D3661-38AC-43C0-9102-0FF0CDDBDC47}" dt="2018-04-29T12:25:25.952" v="13116" actId="478"/>
          <ac:spMkLst>
            <pc:docMk/>
            <pc:sldMk cId="2044485203" sldId="266"/>
            <ac:spMk id="72" creationId="{0550622D-44AB-4366-9584-6AEA934CC777}"/>
          </ac:spMkLst>
        </pc:spChg>
        <pc:spChg chg="del mod ord">
          <ac:chgData name="Alina D" userId="24a60029abdc116d" providerId="LiveId" clId="{162D3661-38AC-43C0-9102-0FF0CDDBDC47}" dt="2018-04-29T12:25:25.952" v="13117" actId="478"/>
          <ac:spMkLst>
            <pc:docMk/>
            <pc:sldMk cId="2044485203" sldId="266"/>
            <ac:spMk id="73" creationId="{4ED16BC3-C115-4797-B7F6-5BB1D82194A3}"/>
          </ac:spMkLst>
        </pc:spChg>
        <pc:spChg chg="del mod ord">
          <ac:chgData name="Alina D" userId="24a60029abdc116d" providerId="LiveId" clId="{162D3661-38AC-43C0-9102-0FF0CDDBDC47}" dt="2018-04-29T12:25:25.952" v="13120" actId="478"/>
          <ac:spMkLst>
            <pc:docMk/>
            <pc:sldMk cId="2044485203" sldId="266"/>
            <ac:spMk id="76" creationId="{A91F3FC2-BE09-4DA9-8BAD-7F77BCF6F7F6}"/>
          </ac:spMkLst>
        </pc:spChg>
        <pc:spChg chg="del mod ord">
          <ac:chgData name="Alina D" userId="24a60029abdc116d" providerId="LiveId" clId="{162D3661-38AC-43C0-9102-0FF0CDDBDC47}" dt="2018-04-29T12:25:25.952" v="13121" actId="478"/>
          <ac:spMkLst>
            <pc:docMk/>
            <pc:sldMk cId="2044485203" sldId="266"/>
            <ac:spMk id="77" creationId="{D6F9AAD7-0E3C-4134-B906-AE5E63DE6501}"/>
          </ac:spMkLst>
        </pc:spChg>
        <pc:spChg chg="del mod ord">
          <ac:chgData name="Alina D" userId="24a60029abdc116d" providerId="LiveId" clId="{162D3661-38AC-43C0-9102-0FF0CDDBDC47}" dt="2018-04-29T12:25:25.952" v="13122" actId="478"/>
          <ac:spMkLst>
            <pc:docMk/>
            <pc:sldMk cId="2044485203" sldId="266"/>
            <ac:spMk id="78" creationId="{B08D78D6-0EAE-418F-8CC0-3DC9109CECD9}"/>
          </ac:spMkLst>
        </pc:spChg>
        <pc:spChg chg="del mod ord">
          <ac:chgData name="Alina D" userId="24a60029abdc116d" providerId="LiveId" clId="{162D3661-38AC-43C0-9102-0FF0CDDBDC47}" dt="2018-04-29T12:25:25.952" v="13123" actId="478"/>
          <ac:spMkLst>
            <pc:docMk/>
            <pc:sldMk cId="2044485203" sldId="266"/>
            <ac:spMk id="79" creationId="{57435A3E-7F80-4DD0-A089-1BE07352AA0A}"/>
          </ac:spMkLst>
        </pc:spChg>
        <pc:spChg chg="del mod ord">
          <ac:chgData name="Alina D" userId="24a60029abdc116d" providerId="LiveId" clId="{162D3661-38AC-43C0-9102-0FF0CDDBDC47}" dt="2018-04-29T12:25:25.952" v="13124" actId="478"/>
          <ac:spMkLst>
            <pc:docMk/>
            <pc:sldMk cId="2044485203" sldId="266"/>
            <ac:spMk id="80" creationId="{E863C903-4389-4B5E-A78C-C9B86B4C5534}"/>
          </ac:spMkLst>
        </pc:spChg>
        <pc:spChg chg="del mod ord">
          <ac:chgData name="Alina D" userId="24a60029abdc116d" providerId="LiveId" clId="{162D3661-38AC-43C0-9102-0FF0CDDBDC47}" dt="2018-04-29T12:25:25.952" v="13125" actId="478"/>
          <ac:spMkLst>
            <pc:docMk/>
            <pc:sldMk cId="2044485203" sldId="266"/>
            <ac:spMk id="81" creationId="{CF4FDCBA-1A79-44F2-BCA4-7D1A7F30B6BC}"/>
          </ac:spMkLst>
        </pc:spChg>
        <pc:spChg chg="del mod ord">
          <ac:chgData name="Alina D" userId="24a60029abdc116d" providerId="LiveId" clId="{162D3661-38AC-43C0-9102-0FF0CDDBDC47}" dt="2018-04-29T12:25:25.966" v="13126" actId="478"/>
          <ac:spMkLst>
            <pc:docMk/>
            <pc:sldMk cId="2044485203" sldId="266"/>
            <ac:spMk id="82" creationId="{E1B4F285-E13C-4B9C-A021-21C3C24E28F3}"/>
          </ac:spMkLst>
        </pc:spChg>
        <pc:spChg chg="del mod ord">
          <ac:chgData name="Alina D" userId="24a60029abdc116d" providerId="LiveId" clId="{162D3661-38AC-43C0-9102-0FF0CDDBDC47}" dt="2018-04-29T12:25:25.966" v="13127" actId="478"/>
          <ac:spMkLst>
            <pc:docMk/>
            <pc:sldMk cId="2044485203" sldId="266"/>
            <ac:spMk id="83" creationId="{2C947E0F-7873-4CD9-9497-A9703961F81D}"/>
          </ac:spMkLst>
        </pc:spChg>
        <pc:spChg chg="del mod ord">
          <ac:chgData name="Alina D" userId="24a60029abdc116d" providerId="LiveId" clId="{162D3661-38AC-43C0-9102-0FF0CDDBDC47}" dt="2018-04-29T12:25:25.966" v="13128" actId="478"/>
          <ac:spMkLst>
            <pc:docMk/>
            <pc:sldMk cId="2044485203" sldId="266"/>
            <ac:spMk id="84" creationId="{ACE0EDAF-259E-4372-827B-41A1986B5EC6}"/>
          </ac:spMkLst>
        </pc:spChg>
        <pc:spChg chg="del mod ord">
          <ac:chgData name="Alina D" userId="24a60029abdc116d" providerId="LiveId" clId="{162D3661-38AC-43C0-9102-0FF0CDDBDC47}" dt="2018-04-29T12:25:25.967" v="13129" actId="478"/>
          <ac:spMkLst>
            <pc:docMk/>
            <pc:sldMk cId="2044485203" sldId="266"/>
            <ac:spMk id="85" creationId="{94E0865A-1E29-4ECF-93EA-648D893F0E39}"/>
          </ac:spMkLst>
        </pc:spChg>
        <pc:spChg chg="del mod ord">
          <ac:chgData name="Alina D" userId="24a60029abdc116d" providerId="LiveId" clId="{162D3661-38AC-43C0-9102-0FF0CDDBDC47}" dt="2018-04-29T12:25:25.967" v="13130" actId="478"/>
          <ac:spMkLst>
            <pc:docMk/>
            <pc:sldMk cId="2044485203" sldId="266"/>
            <ac:spMk id="86" creationId="{D6E99104-214D-445F-8F78-117243345E9E}"/>
          </ac:spMkLst>
        </pc:spChg>
        <pc:spChg chg="del mod ord">
          <ac:chgData name="Alina D" userId="24a60029abdc116d" providerId="LiveId" clId="{162D3661-38AC-43C0-9102-0FF0CDDBDC47}" dt="2018-04-29T12:25:25.968" v="13131" actId="478"/>
          <ac:spMkLst>
            <pc:docMk/>
            <pc:sldMk cId="2044485203" sldId="266"/>
            <ac:spMk id="87" creationId="{117FE5DE-B35A-416D-8DAE-E429BECE890A}"/>
          </ac:spMkLst>
        </pc:spChg>
        <pc:spChg chg="add mod ord">
          <ac:chgData name="Alina D" userId="24a60029abdc116d" providerId="LiveId" clId="{162D3661-38AC-43C0-9102-0FF0CDDBDC47}" dt="2018-04-29T12:25:26.443" v="13620" actId="20577"/>
          <ac:spMkLst>
            <pc:docMk/>
            <pc:sldMk cId="2044485203" sldId="266"/>
            <ac:spMk id="89" creationId="{88A1C67C-DBB0-44F7-9AE6-BD4692134CAD}"/>
          </ac:spMkLst>
        </pc:spChg>
        <pc:spChg chg="mod ord">
          <ac:chgData name="Alina D" userId="24a60029abdc116d" providerId="LiveId" clId="{162D3661-38AC-43C0-9102-0FF0CDDBDC47}" dt="2018-04-29T12:25:26.443" v="13621" actId="20577"/>
          <ac:spMkLst>
            <pc:docMk/>
            <pc:sldMk cId="2044485203" sldId="266"/>
            <ac:spMk id="90" creationId="{48FC8A57-4AAF-4F07-95B2-78D8AB027F00}"/>
          </ac:spMkLst>
        </pc:spChg>
        <pc:spChg chg="mod ord">
          <ac:chgData name="Alina D" userId="24a60029abdc116d" providerId="LiveId" clId="{162D3661-38AC-43C0-9102-0FF0CDDBDC47}" dt="2018-04-29T12:25:26.443" v="13622" actId="20577"/>
          <ac:spMkLst>
            <pc:docMk/>
            <pc:sldMk cId="2044485203" sldId="266"/>
            <ac:spMk id="91" creationId="{7A6F9CDC-2A9F-48AC-AB50-3151D5A265E7}"/>
          </ac:spMkLst>
        </pc:spChg>
        <pc:spChg chg="mod ord">
          <ac:chgData name="Alina D" userId="24a60029abdc116d" providerId="LiveId" clId="{162D3661-38AC-43C0-9102-0FF0CDDBDC47}" dt="2018-04-29T12:25:26.443" v="13623" actId="20577"/>
          <ac:spMkLst>
            <pc:docMk/>
            <pc:sldMk cId="2044485203" sldId="266"/>
            <ac:spMk id="92" creationId="{1A01FDD5-504A-4EBB-9F37-D0442813BA9A}"/>
          </ac:spMkLst>
        </pc:spChg>
        <pc:spChg chg="mod ord">
          <ac:chgData name="Alina D" userId="24a60029abdc116d" providerId="LiveId" clId="{162D3661-38AC-43C0-9102-0FF0CDDBDC47}" dt="2018-04-29T12:25:26.443" v="13624" actId="20577"/>
          <ac:spMkLst>
            <pc:docMk/>
            <pc:sldMk cId="2044485203" sldId="266"/>
            <ac:spMk id="93" creationId="{E86FF57C-D8F8-452C-94FB-8D66630A24F9}"/>
          </ac:spMkLst>
        </pc:spChg>
        <pc:spChg chg="mod ord">
          <ac:chgData name="Alina D" userId="24a60029abdc116d" providerId="LiveId" clId="{162D3661-38AC-43C0-9102-0FF0CDDBDC47}" dt="2018-04-29T12:25:26.443" v="13627" actId="20577"/>
          <ac:spMkLst>
            <pc:docMk/>
            <pc:sldMk cId="2044485203" sldId="266"/>
            <ac:spMk id="96" creationId="{97B7738B-2D62-414B-9BF9-82F5AB6D2B21}"/>
          </ac:spMkLst>
        </pc:spChg>
        <pc:spChg chg="mod ord">
          <ac:chgData name="Alina D" userId="24a60029abdc116d" providerId="LiveId" clId="{162D3661-38AC-43C0-9102-0FF0CDDBDC47}" dt="2018-04-29T12:25:26.443" v="13628" actId="20577"/>
          <ac:spMkLst>
            <pc:docMk/>
            <pc:sldMk cId="2044485203" sldId="266"/>
            <ac:spMk id="97" creationId="{75FBF1D3-787B-4F8D-BE4A-6ED7C5D4A6CE}"/>
          </ac:spMkLst>
        </pc:spChg>
        <pc:spChg chg="mod ord">
          <ac:chgData name="Alina D" userId="24a60029abdc116d" providerId="LiveId" clId="{162D3661-38AC-43C0-9102-0FF0CDDBDC47}" dt="2018-04-29T12:25:26.459" v="13629" actId="20577"/>
          <ac:spMkLst>
            <pc:docMk/>
            <pc:sldMk cId="2044485203" sldId="266"/>
            <ac:spMk id="98" creationId="{37A4DA11-615C-4B9B-AAED-EB24BDC1599E}"/>
          </ac:spMkLst>
        </pc:spChg>
        <pc:spChg chg="mod ord">
          <ac:chgData name="Alina D" userId="24a60029abdc116d" providerId="LiveId" clId="{162D3661-38AC-43C0-9102-0FF0CDDBDC47}" dt="2018-04-29T12:25:26.459" v="13630" actId="20577"/>
          <ac:spMkLst>
            <pc:docMk/>
            <pc:sldMk cId="2044485203" sldId="266"/>
            <ac:spMk id="99" creationId="{1C7F428E-4313-48A2-8666-A5DD5E707CB0}"/>
          </ac:spMkLst>
        </pc:spChg>
        <pc:spChg chg="mod ord">
          <ac:chgData name="Alina D" userId="24a60029abdc116d" providerId="LiveId" clId="{162D3661-38AC-43C0-9102-0FF0CDDBDC47}" dt="2018-04-29T12:25:26.459" v="13631" actId="20577"/>
          <ac:spMkLst>
            <pc:docMk/>
            <pc:sldMk cId="2044485203" sldId="266"/>
            <ac:spMk id="100" creationId="{A3D99E8F-C3BC-4E04-9417-92C5B5BEE5A7}"/>
          </ac:spMkLst>
        </pc:spChg>
        <pc:spChg chg="mod ord">
          <ac:chgData name="Alina D" userId="24a60029abdc116d" providerId="LiveId" clId="{162D3661-38AC-43C0-9102-0FF0CDDBDC47}" dt="2018-04-29T12:25:26.459" v="13632" actId="20577"/>
          <ac:spMkLst>
            <pc:docMk/>
            <pc:sldMk cId="2044485203" sldId="266"/>
            <ac:spMk id="101" creationId="{DE707785-6BFB-4BBD-A853-C7C06F7C7E9E}"/>
          </ac:spMkLst>
        </pc:spChg>
        <pc:spChg chg="mod ord">
          <ac:chgData name="Alina D" userId="24a60029abdc116d" providerId="LiveId" clId="{162D3661-38AC-43C0-9102-0FF0CDDBDC47}" dt="2018-04-29T12:25:26.459" v="13633" actId="20577"/>
          <ac:spMkLst>
            <pc:docMk/>
            <pc:sldMk cId="2044485203" sldId="266"/>
            <ac:spMk id="102" creationId="{BA6CD1EE-3728-4522-A40A-947DC891CE83}"/>
          </ac:spMkLst>
        </pc:spChg>
        <pc:spChg chg="mod ord">
          <ac:chgData name="Alina D" userId="24a60029abdc116d" providerId="LiveId" clId="{162D3661-38AC-43C0-9102-0FF0CDDBDC47}" dt="2018-04-29T12:25:26.459" v="13634" actId="20577"/>
          <ac:spMkLst>
            <pc:docMk/>
            <pc:sldMk cId="2044485203" sldId="266"/>
            <ac:spMk id="103" creationId="{C169CC08-0C8E-4943-BC4D-FBB5D0C2102E}"/>
          </ac:spMkLst>
        </pc:spChg>
        <pc:spChg chg="mod ord">
          <ac:chgData name="Alina D" userId="24a60029abdc116d" providerId="LiveId" clId="{162D3661-38AC-43C0-9102-0FF0CDDBDC47}" dt="2018-04-29T12:25:26.459" v="13635" actId="20577"/>
          <ac:spMkLst>
            <pc:docMk/>
            <pc:sldMk cId="2044485203" sldId="266"/>
            <ac:spMk id="104" creationId="{24BFEFB4-494D-4CCB-8A41-A6767BC1A781}"/>
          </ac:spMkLst>
        </pc:spChg>
        <pc:spChg chg="mod ord">
          <ac:chgData name="Alina D" userId="24a60029abdc116d" providerId="LiveId" clId="{162D3661-38AC-43C0-9102-0FF0CDDBDC47}" dt="2018-04-29T12:25:26.459" v="13636" actId="20577"/>
          <ac:spMkLst>
            <pc:docMk/>
            <pc:sldMk cId="2044485203" sldId="266"/>
            <ac:spMk id="105" creationId="{AFAAA960-DF61-4F27-AE85-F060237A899F}"/>
          </ac:spMkLst>
        </pc:spChg>
        <pc:spChg chg="mod ord">
          <ac:chgData name="Alina D" userId="24a60029abdc116d" providerId="LiveId" clId="{162D3661-38AC-43C0-9102-0FF0CDDBDC47}" dt="2018-04-29T12:25:26.459" v="13637" actId="20577"/>
          <ac:spMkLst>
            <pc:docMk/>
            <pc:sldMk cId="2044485203" sldId="266"/>
            <ac:spMk id="106" creationId="{472FB47D-8325-4599-91BA-3F47C151394B}"/>
          </ac:spMkLst>
        </pc:spChg>
        <pc:spChg chg="mod ord">
          <ac:chgData name="Alina D" userId="24a60029abdc116d" providerId="LiveId" clId="{162D3661-38AC-43C0-9102-0FF0CDDBDC47}" dt="2018-04-29T12:25:26.459" v="13638" actId="20577"/>
          <ac:spMkLst>
            <pc:docMk/>
            <pc:sldMk cId="2044485203" sldId="266"/>
            <ac:spMk id="107" creationId="{134B9D22-309E-4756-8398-676B17BFCEFB}"/>
          </ac:spMkLst>
        </pc:spChg>
        <pc:cxnChg chg="del mod ord">
          <ac:chgData name="Alina D" userId="24a60029abdc116d" providerId="LiveId" clId="{162D3661-38AC-43C0-9102-0FF0CDDBDC47}" dt="2018-04-29T11:57:58.546" v="3855" actId="478"/>
          <ac:cxnSpMkLst>
            <pc:docMk/>
            <pc:sldMk cId="2044485203" sldId="266"/>
            <ac:cxnSpMk id="9" creationId="{15C225DC-AB54-4D8A-90FB-ED99C173068E}"/>
          </ac:cxnSpMkLst>
        </pc:cxnChg>
        <pc:cxnChg chg="del mod ord">
          <ac:chgData name="Alina D" userId="24a60029abdc116d" providerId="LiveId" clId="{162D3661-38AC-43C0-9102-0FF0CDDBDC47}" dt="2018-04-29T11:57:58.546" v="3856" actId="478"/>
          <ac:cxnSpMkLst>
            <pc:docMk/>
            <pc:sldMk cId="2044485203" sldId="266"/>
            <ac:cxnSpMk id="10" creationId="{E458A542-1D8F-4F13-98CF-119B793556FA}"/>
          </ac:cxnSpMkLst>
        </pc:cxnChg>
        <pc:cxnChg chg="del mod ord">
          <ac:chgData name="Alina D" userId="24a60029abdc116d" providerId="LiveId" clId="{162D3661-38AC-43C0-9102-0FF0CDDBDC47}" dt="2018-04-29T11:58:12.374" v="6819" actId="478"/>
          <ac:cxnSpMkLst>
            <pc:docMk/>
            <pc:sldMk cId="2044485203" sldId="266"/>
            <ac:cxnSpMk id="31" creationId="{6B2CEBEC-25F8-4E2B-8D83-C1AEDEF5188F}"/>
          </ac:cxnSpMkLst>
        </pc:cxnChg>
        <pc:cxnChg chg="del mod ord">
          <ac:chgData name="Alina D" userId="24a60029abdc116d" providerId="LiveId" clId="{162D3661-38AC-43C0-9102-0FF0CDDBDC47}" dt="2018-04-29T11:58:12.374" v="6820" actId="478"/>
          <ac:cxnSpMkLst>
            <pc:docMk/>
            <pc:sldMk cId="2044485203" sldId="266"/>
            <ac:cxnSpMk id="32" creationId="{D52B757F-9437-4E2F-8DC1-EEDB96BD18DC}"/>
          </ac:cxnSpMkLst>
        </pc:cxnChg>
        <pc:cxnChg chg="del mod ord">
          <ac:chgData name="Alina D" userId="24a60029abdc116d" providerId="LiveId" clId="{162D3661-38AC-43C0-9102-0FF0CDDBDC47}" dt="2018-04-29T12:24:41.161" v="11331" actId="478"/>
          <ac:cxnSpMkLst>
            <pc:docMk/>
            <pc:sldMk cId="2044485203" sldId="266"/>
            <ac:cxnSpMk id="53" creationId="{735D0420-3508-4FC4-A3F5-F7E0BDAB53D8}"/>
          </ac:cxnSpMkLst>
        </pc:cxnChg>
        <pc:cxnChg chg="del mod ord">
          <ac:chgData name="Alina D" userId="24a60029abdc116d" providerId="LiveId" clId="{162D3661-38AC-43C0-9102-0FF0CDDBDC47}" dt="2018-04-29T12:24:41.161" v="11332" actId="478"/>
          <ac:cxnSpMkLst>
            <pc:docMk/>
            <pc:sldMk cId="2044485203" sldId="266"/>
            <ac:cxnSpMk id="54" creationId="{4503C171-B92D-436E-B603-582D9E925A8F}"/>
          </ac:cxnSpMkLst>
        </pc:cxnChg>
        <pc:cxnChg chg="del mod ord">
          <ac:chgData name="Alina D" userId="24a60029abdc116d" providerId="LiveId" clId="{162D3661-38AC-43C0-9102-0FF0CDDBDC47}" dt="2018-04-29T12:25:25.952" v="13118" actId="478"/>
          <ac:cxnSpMkLst>
            <pc:docMk/>
            <pc:sldMk cId="2044485203" sldId="266"/>
            <ac:cxnSpMk id="74" creationId="{797D9651-F1EF-43E0-8CC3-F419D42FB3A9}"/>
          </ac:cxnSpMkLst>
        </pc:cxnChg>
        <pc:cxnChg chg="del mod ord">
          <ac:chgData name="Alina D" userId="24a60029abdc116d" providerId="LiveId" clId="{162D3661-38AC-43C0-9102-0FF0CDDBDC47}" dt="2018-04-29T12:25:25.952" v="13119" actId="478"/>
          <ac:cxnSpMkLst>
            <pc:docMk/>
            <pc:sldMk cId="2044485203" sldId="266"/>
            <ac:cxnSpMk id="75" creationId="{2B38A6A0-7EB0-46DF-891E-EC764E81C97A}"/>
          </ac:cxnSpMkLst>
        </pc:cxnChg>
        <pc:cxnChg chg="mod ord">
          <ac:chgData name="Alina D" userId="24a60029abdc116d" providerId="LiveId" clId="{162D3661-38AC-43C0-9102-0FF0CDDBDC47}" dt="2018-04-29T12:25:26.443" v="13625" actId="20577"/>
          <ac:cxnSpMkLst>
            <pc:docMk/>
            <pc:sldMk cId="2044485203" sldId="266"/>
            <ac:cxnSpMk id="94" creationId="{CDCA67E3-B80C-4D0D-BB08-3EEB170D1B3A}"/>
          </ac:cxnSpMkLst>
        </pc:cxnChg>
        <pc:cxnChg chg="mod ord">
          <ac:chgData name="Alina D" userId="24a60029abdc116d" providerId="LiveId" clId="{162D3661-38AC-43C0-9102-0FF0CDDBDC47}" dt="2018-04-29T12:25:26.443" v="13626" actId="20577"/>
          <ac:cxnSpMkLst>
            <pc:docMk/>
            <pc:sldMk cId="2044485203" sldId="266"/>
            <ac:cxnSpMk id="95" creationId="{A9FA0A02-AF4A-48E1-946D-E7759A695C11}"/>
          </ac:cxnSpMkLst>
        </pc:cxnChg>
      </pc:sldChg>
      <pc:sldChg chg="addSp delSp modSp">
        <pc:chgData name="Alina D" userId="24a60029abdc116d" providerId="LiveId" clId="{162D3661-38AC-43C0-9102-0FF0CDDBDC47}" dt="2018-04-29T12:25:26.860" v="14049" actId="20577"/>
        <pc:sldMkLst>
          <pc:docMk/>
          <pc:sldMk cId="1349911159" sldId="272"/>
        </pc:sldMkLst>
        <pc:spChg chg="del mod ord">
          <ac:chgData name="Alina D" userId="24a60029abdc116d" providerId="LiveId" clId="{162D3661-38AC-43C0-9102-0FF0CDDBDC47}" dt="2018-04-29T11:57:58.629" v="3962" actId="478"/>
          <ac:spMkLst>
            <pc:docMk/>
            <pc:sldMk cId="1349911159" sldId="272"/>
            <ac:spMk id="2" creationId="{443957A3-D78C-4065-B028-5CE92992B1E3}"/>
          </ac:spMkLst>
        </pc:spChg>
        <pc:spChg chg="del mod ord">
          <ac:chgData name="Alina D" userId="24a60029abdc116d" providerId="LiveId" clId="{162D3661-38AC-43C0-9102-0FF0CDDBDC47}" dt="2018-04-29T11:57:58.629" v="3963" actId="478"/>
          <ac:spMkLst>
            <pc:docMk/>
            <pc:sldMk cId="1349911159" sldId="272"/>
            <ac:spMk id="3" creationId="{2B3E19CC-74B7-429F-A158-C8931E239290}"/>
          </ac:spMkLst>
        </pc:spChg>
        <pc:spChg chg="del mod ord">
          <ac:chgData name="Alina D" userId="24a60029abdc116d" providerId="LiveId" clId="{162D3661-38AC-43C0-9102-0FF0CDDBDC47}" dt="2018-04-29T11:57:58.629" v="3964" actId="478"/>
          <ac:spMkLst>
            <pc:docMk/>
            <pc:sldMk cId="1349911159" sldId="272"/>
            <ac:spMk id="4" creationId="{AAE9F1B9-079A-49F0-B143-DCF1AB0D87C0}"/>
          </ac:spMkLst>
        </pc:spChg>
        <pc:spChg chg="del mod ord">
          <ac:chgData name="Alina D" userId="24a60029abdc116d" providerId="LiveId" clId="{162D3661-38AC-43C0-9102-0FF0CDDBDC47}" dt="2018-04-29T11:57:58.629" v="3965" actId="478"/>
          <ac:spMkLst>
            <pc:docMk/>
            <pc:sldMk cId="1349911159" sldId="272"/>
            <ac:spMk id="5" creationId="{45314448-6F89-452C-B155-E4ED07AF112B}"/>
          </ac:spMkLst>
        </pc:spChg>
        <pc:spChg chg="del mod ord">
          <ac:chgData name="Alina D" userId="24a60029abdc116d" providerId="LiveId" clId="{162D3661-38AC-43C0-9102-0FF0CDDBDC47}" dt="2018-04-29T11:57:58.629" v="3966" actId="478"/>
          <ac:spMkLst>
            <pc:docMk/>
            <pc:sldMk cId="1349911159" sldId="272"/>
            <ac:spMk id="6" creationId="{2F5E9384-B2CE-45FA-A2B2-8672940C53D9}"/>
          </ac:spMkLst>
        </pc:spChg>
        <pc:spChg chg="del mod ord">
          <ac:chgData name="Alina D" userId="24a60029abdc116d" providerId="LiveId" clId="{162D3661-38AC-43C0-9102-0FF0CDDBDC47}" dt="2018-04-29T11:57:58.629" v="3967" actId="478"/>
          <ac:spMkLst>
            <pc:docMk/>
            <pc:sldMk cId="1349911159" sldId="272"/>
            <ac:spMk id="7" creationId="{81028D79-C6AC-46E5-83F9-1E7E6159641C}"/>
          </ac:spMkLst>
        </pc:spChg>
        <pc:spChg chg="del mod ord">
          <ac:chgData name="Alina D" userId="24a60029abdc116d" providerId="LiveId" clId="{162D3661-38AC-43C0-9102-0FF0CDDBDC47}" dt="2018-04-29T11:57:58.629" v="3968" actId="478"/>
          <ac:spMkLst>
            <pc:docMk/>
            <pc:sldMk cId="1349911159" sldId="272"/>
            <ac:spMk id="8" creationId="{E6E38E87-982D-466D-A5D9-33481531A1F1}"/>
          </ac:spMkLst>
        </pc:spChg>
        <pc:spChg chg="del mod ord">
          <ac:chgData name="Alina D" userId="24a60029abdc116d" providerId="LiveId" clId="{162D3661-38AC-43C0-9102-0FF0CDDBDC47}" dt="2018-04-29T11:57:58.629" v="3969" actId="478"/>
          <ac:spMkLst>
            <pc:docMk/>
            <pc:sldMk cId="1349911159" sldId="272"/>
            <ac:spMk id="9" creationId="{9BA159D9-BF71-43F0-82A5-EEBD51BADD8A}"/>
          </ac:spMkLst>
        </pc:spChg>
        <pc:spChg chg="del mod ord">
          <ac:chgData name="Alina D" userId="24a60029abdc116d" providerId="LiveId" clId="{162D3661-38AC-43C0-9102-0FF0CDDBDC47}" dt="2018-04-29T11:57:58.629" v="3970" actId="478"/>
          <ac:spMkLst>
            <pc:docMk/>
            <pc:sldMk cId="1349911159" sldId="272"/>
            <ac:spMk id="10" creationId="{A472D562-DAE9-46AA-ACC6-06D55258AF57}"/>
          </ac:spMkLst>
        </pc:spChg>
        <pc:spChg chg="del mod ord">
          <ac:chgData name="Alina D" userId="24a60029abdc116d" providerId="LiveId" clId="{162D3661-38AC-43C0-9102-0FF0CDDBDC47}" dt="2018-04-29T11:57:58.629" v="3971" actId="478"/>
          <ac:spMkLst>
            <pc:docMk/>
            <pc:sldMk cId="1349911159" sldId="272"/>
            <ac:spMk id="11" creationId="{31EB7105-6AC1-4649-8AEB-A72B790B594C}"/>
          </ac:spMkLst>
        </pc:spChg>
        <pc:spChg chg="del mod ord">
          <ac:chgData name="Alina D" userId="24a60029abdc116d" providerId="LiveId" clId="{162D3661-38AC-43C0-9102-0FF0CDDBDC47}" dt="2018-04-29T11:57:58.629" v="3972" actId="478"/>
          <ac:spMkLst>
            <pc:docMk/>
            <pc:sldMk cId="1349911159" sldId="272"/>
            <ac:spMk id="12" creationId="{3D2BF238-8C39-4F95-9A08-ED0DEFDC1ADA}"/>
          </ac:spMkLst>
        </pc:spChg>
        <pc:spChg chg="del mod ord">
          <ac:chgData name="Alina D" userId="24a60029abdc116d" providerId="LiveId" clId="{162D3661-38AC-43C0-9102-0FF0CDDBDC47}" dt="2018-04-29T11:57:58.629" v="3973" actId="478"/>
          <ac:spMkLst>
            <pc:docMk/>
            <pc:sldMk cId="1349911159" sldId="272"/>
            <ac:spMk id="13" creationId="{660B2809-0093-4DBB-9DA5-19E9A5E7019B}"/>
          </ac:spMkLst>
        </pc:spChg>
        <pc:spChg chg="del mod ord">
          <ac:chgData name="Alina D" userId="24a60029abdc116d" providerId="LiveId" clId="{162D3661-38AC-43C0-9102-0FF0CDDBDC47}" dt="2018-04-29T11:57:58.629" v="3974" actId="478"/>
          <ac:spMkLst>
            <pc:docMk/>
            <pc:sldMk cId="1349911159" sldId="272"/>
            <ac:spMk id="14" creationId="{F658BB0F-EE7E-4E7A-AA27-C4B0024F7F3B}"/>
          </ac:spMkLst>
        </pc:spChg>
        <pc:spChg chg="add del mod ord">
          <ac:chgData name="Alina D" userId="24a60029abdc116d" providerId="LiveId" clId="{162D3661-38AC-43C0-9102-0FF0CDDBDC47}" dt="2018-04-29T11:58:12.405" v="6863" actId="478"/>
          <ac:spMkLst>
            <pc:docMk/>
            <pc:sldMk cId="1349911159" sldId="272"/>
            <ac:spMk id="18" creationId="{ED658962-31DB-4803-85F6-4DC61BC6B675}"/>
          </ac:spMkLst>
        </pc:spChg>
        <pc:spChg chg="del mod ord">
          <ac:chgData name="Alina D" userId="24a60029abdc116d" providerId="LiveId" clId="{162D3661-38AC-43C0-9102-0FF0CDDBDC47}" dt="2018-04-29T11:58:12.405" v="6864" actId="478"/>
          <ac:spMkLst>
            <pc:docMk/>
            <pc:sldMk cId="1349911159" sldId="272"/>
            <ac:spMk id="19" creationId="{01F90958-348A-462A-B72E-3D997698E839}"/>
          </ac:spMkLst>
        </pc:spChg>
        <pc:spChg chg="del mod ord">
          <ac:chgData name="Alina D" userId="24a60029abdc116d" providerId="LiveId" clId="{162D3661-38AC-43C0-9102-0FF0CDDBDC47}" dt="2018-04-29T11:58:12.405" v="6865" actId="478"/>
          <ac:spMkLst>
            <pc:docMk/>
            <pc:sldMk cId="1349911159" sldId="272"/>
            <ac:spMk id="20" creationId="{713E5183-405A-4AAF-AD3C-C82818D53C19}"/>
          </ac:spMkLst>
        </pc:spChg>
        <pc:spChg chg="del mod ord">
          <ac:chgData name="Alina D" userId="24a60029abdc116d" providerId="LiveId" clId="{162D3661-38AC-43C0-9102-0FF0CDDBDC47}" dt="2018-04-29T11:58:12.405" v="6866" actId="478"/>
          <ac:spMkLst>
            <pc:docMk/>
            <pc:sldMk cId="1349911159" sldId="272"/>
            <ac:spMk id="21" creationId="{E864F17D-6E9E-4283-9B7B-B087D03A1E53}"/>
          </ac:spMkLst>
        </pc:spChg>
        <pc:spChg chg="del mod ord">
          <ac:chgData name="Alina D" userId="24a60029abdc116d" providerId="LiveId" clId="{162D3661-38AC-43C0-9102-0FF0CDDBDC47}" dt="2018-04-29T11:58:12.405" v="6867" actId="478"/>
          <ac:spMkLst>
            <pc:docMk/>
            <pc:sldMk cId="1349911159" sldId="272"/>
            <ac:spMk id="22" creationId="{200D0F51-F566-48AD-BB2A-B9DA6300E297}"/>
          </ac:spMkLst>
        </pc:spChg>
        <pc:spChg chg="del mod ord">
          <ac:chgData name="Alina D" userId="24a60029abdc116d" providerId="LiveId" clId="{162D3661-38AC-43C0-9102-0FF0CDDBDC47}" dt="2018-04-29T11:58:12.405" v="6868" actId="478"/>
          <ac:spMkLst>
            <pc:docMk/>
            <pc:sldMk cId="1349911159" sldId="272"/>
            <ac:spMk id="23" creationId="{6D1CBF25-9E66-479E-AABE-64FFD9D603FD}"/>
          </ac:spMkLst>
        </pc:spChg>
        <pc:spChg chg="del mod ord">
          <ac:chgData name="Alina D" userId="24a60029abdc116d" providerId="LiveId" clId="{162D3661-38AC-43C0-9102-0FF0CDDBDC47}" dt="2018-04-29T11:58:12.405" v="6869" actId="478"/>
          <ac:spMkLst>
            <pc:docMk/>
            <pc:sldMk cId="1349911159" sldId="272"/>
            <ac:spMk id="24" creationId="{924CA4BC-64F1-4C64-8F1B-E5E4F223E926}"/>
          </ac:spMkLst>
        </pc:spChg>
        <pc:spChg chg="del mod ord">
          <ac:chgData name="Alina D" userId="24a60029abdc116d" providerId="LiveId" clId="{162D3661-38AC-43C0-9102-0FF0CDDBDC47}" dt="2018-04-29T11:58:12.405" v="6870" actId="478"/>
          <ac:spMkLst>
            <pc:docMk/>
            <pc:sldMk cId="1349911159" sldId="272"/>
            <ac:spMk id="25" creationId="{3B5FD6F0-4466-42AC-AA7E-29371997436D}"/>
          </ac:spMkLst>
        </pc:spChg>
        <pc:spChg chg="del mod ord">
          <ac:chgData name="Alina D" userId="24a60029abdc116d" providerId="LiveId" clId="{162D3661-38AC-43C0-9102-0FF0CDDBDC47}" dt="2018-04-29T11:58:12.405" v="6871" actId="478"/>
          <ac:spMkLst>
            <pc:docMk/>
            <pc:sldMk cId="1349911159" sldId="272"/>
            <ac:spMk id="26" creationId="{A54C6D73-7071-4BDB-B8F8-84B26D73ABB2}"/>
          </ac:spMkLst>
        </pc:spChg>
        <pc:spChg chg="del mod ord">
          <ac:chgData name="Alina D" userId="24a60029abdc116d" providerId="LiveId" clId="{162D3661-38AC-43C0-9102-0FF0CDDBDC47}" dt="2018-04-29T11:58:12.405" v="6872" actId="478"/>
          <ac:spMkLst>
            <pc:docMk/>
            <pc:sldMk cId="1349911159" sldId="272"/>
            <ac:spMk id="27" creationId="{E3E526C7-7424-4BF4-8B06-650DA7E64339}"/>
          </ac:spMkLst>
        </pc:spChg>
        <pc:spChg chg="del mod ord">
          <ac:chgData name="Alina D" userId="24a60029abdc116d" providerId="LiveId" clId="{162D3661-38AC-43C0-9102-0FF0CDDBDC47}" dt="2018-04-29T11:58:12.405" v="6873" actId="478"/>
          <ac:spMkLst>
            <pc:docMk/>
            <pc:sldMk cId="1349911159" sldId="272"/>
            <ac:spMk id="28" creationId="{C1A2DC44-004E-4042-97A1-E75082E5D19B}"/>
          </ac:spMkLst>
        </pc:spChg>
        <pc:spChg chg="del mod ord">
          <ac:chgData name="Alina D" userId="24a60029abdc116d" providerId="LiveId" clId="{162D3661-38AC-43C0-9102-0FF0CDDBDC47}" dt="2018-04-29T11:58:12.405" v="6874" actId="478"/>
          <ac:spMkLst>
            <pc:docMk/>
            <pc:sldMk cId="1349911159" sldId="272"/>
            <ac:spMk id="29" creationId="{247672B3-621A-46D3-A01F-2547DE7158F1}"/>
          </ac:spMkLst>
        </pc:spChg>
        <pc:spChg chg="del mod ord">
          <ac:chgData name="Alina D" userId="24a60029abdc116d" providerId="LiveId" clId="{162D3661-38AC-43C0-9102-0FF0CDDBDC47}" dt="2018-04-29T11:58:12.405" v="6875" actId="478"/>
          <ac:spMkLst>
            <pc:docMk/>
            <pc:sldMk cId="1349911159" sldId="272"/>
            <ac:spMk id="30" creationId="{E87E3D6D-C6E2-409F-95A1-A673D5FD7E3F}"/>
          </ac:spMkLst>
        </pc:spChg>
        <pc:spChg chg="add del mod ord">
          <ac:chgData name="Alina D" userId="24a60029abdc116d" providerId="LiveId" clId="{162D3661-38AC-43C0-9102-0FF0CDDBDC47}" dt="2018-04-29T12:24:41.196" v="11375" actId="478"/>
          <ac:spMkLst>
            <pc:docMk/>
            <pc:sldMk cId="1349911159" sldId="272"/>
            <ac:spMk id="34" creationId="{4B9BF7C1-FACF-47C9-AB42-D1FE2EDEF904}"/>
          </ac:spMkLst>
        </pc:spChg>
        <pc:spChg chg="del mod ord">
          <ac:chgData name="Alina D" userId="24a60029abdc116d" providerId="LiveId" clId="{162D3661-38AC-43C0-9102-0FF0CDDBDC47}" dt="2018-04-29T12:24:41.196" v="11376" actId="478"/>
          <ac:spMkLst>
            <pc:docMk/>
            <pc:sldMk cId="1349911159" sldId="272"/>
            <ac:spMk id="35" creationId="{AF7BD3BB-A267-47BD-B222-0A0F19AC14C6}"/>
          </ac:spMkLst>
        </pc:spChg>
        <pc:spChg chg="del mod ord">
          <ac:chgData name="Alina D" userId="24a60029abdc116d" providerId="LiveId" clId="{162D3661-38AC-43C0-9102-0FF0CDDBDC47}" dt="2018-04-29T12:24:41.204" v="11377" actId="478"/>
          <ac:spMkLst>
            <pc:docMk/>
            <pc:sldMk cId="1349911159" sldId="272"/>
            <ac:spMk id="36" creationId="{3B2E39F4-A094-483C-9C25-5FD95794723E}"/>
          </ac:spMkLst>
        </pc:spChg>
        <pc:spChg chg="del mod ord">
          <ac:chgData name="Alina D" userId="24a60029abdc116d" providerId="LiveId" clId="{162D3661-38AC-43C0-9102-0FF0CDDBDC47}" dt="2018-04-29T12:24:41.204" v="11378" actId="478"/>
          <ac:spMkLst>
            <pc:docMk/>
            <pc:sldMk cId="1349911159" sldId="272"/>
            <ac:spMk id="37" creationId="{59087C24-9837-42C2-821D-1C378487A091}"/>
          </ac:spMkLst>
        </pc:spChg>
        <pc:spChg chg="del mod ord">
          <ac:chgData name="Alina D" userId="24a60029abdc116d" providerId="LiveId" clId="{162D3661-38AC-43C0-9102-0FF0CDDBDC47}" dt="2018-04-29T12:24:41.205" v="11379" actId="478"/>
          <ac:spMkLst>
            <pc:docMk/>
            <pc:sldMk cId="1349911159" sldId="272"/>
            <ac:spMk id="38" creationId="{9F5C0669-23A6-4245-9D69-3FE4CBA4063A}"/>
          </ac:spMkLst>
        </pc:spChg>
        <pc:spChg chg="del mod ord">
          <ac:chgData name="Alina D" userId="24a60029abdc116d" providerId="LiveId" clId="{162D3661-38AC-43C0-9102-0FF0CDDBDC47}" dt="2018-04-29T12:24:41.205" v="11380" actId="478"/>
          <ac:spMkLst>
            <pc:docMk/>
            <pc:sldMk cId="1349911159" sldId="272"/>
            <ac:spMk id="39" creationId="{4D602065-09FA-4050-9996-A89E180FDB62}"/>
          </ac:spMkLst>
        </pc:spChg>
        <pc:spChg chg="del mod ord">
          <ac:chgData name="Alina D" userId="24a60029abdc116d" providerId="LiveId" clId="{162D3661-38AC-43C0-9102-0FF0CDDBDC47}" dt="2018-04-29T12:24:41.205" v="11381" actId="478"/>
          <ac:spMkLst>
            <pc:docMk/>
            <pc:sldMk cId="1349911159" sldId="272"/>
            <ac:spMk id="40" creationId="{657CD472-96F0-4605-8A80-1271B15F6D1F}"/>
          </ac:spMkLst>
        </pc:spChg>
        <pc:spChg chg="del mod ord">
          <ac:chgData name="Alina D" userId="24a60029abdc116d" providerId="LiveId" clId="{162D3661-38AC-43C0-9102-0FF0CDDBDC47}" dt="2018-04-29T12:24:41.205" v="11382" actId="478"/>
          <ac:spMkLst>
            <pc:docMk/>
            <pc:sldMk cId="1349911159" sldId="272"/>
            <ac:spMk id="41" creationId="{D2102D74-E62B-4550-BDC3-A9FF398606C8}"/>
          </ac:spMkLst>
        </pc:spChg>
        <pc:spChg chg="del mod ord">
          <ac:chgData name="Alina D" userId="24a60029abdc116d" providerId="LiveId" clId="{162D3661-38AC-43C0-9102-0FF0CDDBDC47}" dt="2018-04-29T12:24:41.205" v="11383" actId="478"/>
          <ac:spMkLst>
            <pc:docMk/>
            <pc:sldMk cId="1349911159" sldId="272"/>
            <ac:spMk id="42" creationId="{DF841879-7947-463A-BE5F-C956C1AC96E9}"/>
          </ac:spMkLst>
        </pc:spChg>
        <pc:spChg chg="del mod ord">
          <ac:chgData name="Alina D" userId="24a60029abdc116d" providerId="LiveId" clId="{162D3661-38AC-43C0-9102-0FF0CDDBDC47}" dt="2018-04-29T12:24:41.205" v="11384" actId="478"/>
          <ac:spMkLst>
            <pc:docMk/>
            <pc:sldMk cId="1349911159" sldId="272"/>
            <ac:spMk id="43" creationId="{573374BB-C924-4A69-B918-E9AEEAE0E0C6}"/>
          </ac:spMkLst>
        </pc:spChg>
        <pc:spChg chg="del mod ord">
          <ac:chgData name="Alina D" userId="24a60029abdc116d" providerId="LiveId" clId="{162D3661-38AC-43C0-9102-0FF0CDDBDC47}" dt="2018-04-29T12:24:41.205" v="11385" actId="478"/>
          <ac:spMkLst>
            <pc:docMk/>
            <pc:sldMk cId="1349911159" sldId="272"/>
            <ac:spMk id="44" creationId="{F7B90B5F-7935-4BD2-AF8D-015E798C2CCE}"/>
          </ac:spMkLst>
        </pc:spChg>
        <pc:spChg chg="del mod ord">
          <ac:chgData name="Alina D" userId="24a60029abdc116d" providerId="LiveId" clId="{162D3661-38AC-43C0-9102-0FF0CDDBDC47}" dt="2018-04-29T12:24:41.205" v="11386" actId="478"/>
          <ac:spMkLst>
            <pc:docMk/>
            <pc:sldMk cId="1349911159" sldId="272"/>
            <ac:spMk id="45" creationId="{D5E1F8DD-37C9-4777-B401-CB370CC8E360}"/>
          </ac:spMkLst>
        </pc:spChg>
        <pc:spChg chg="del mod ord">
          <ac:chgData name="Alina D" userId="24a60029abdc116d" providerId="LiveId" clId="{162D3661-38AC-43C0-9102-0FF0CDDBDC47}" dt="2018-04-29T12:24:41.205" v="11387" actId="478"/>
          <ac:spMkLst>
            <pc:docMk/>
            <pc:sldMk cId="1349911159" sldId="272"/>
            <ac:spMk id="46" creationId="{1014C6DE-9C4C-440E-8D17-17C82A8E22E8}"/>
          </ac:spMkLst>
        </pc:spChg>
        <pc:spChg chg="add del mod ord">
          <ac:chgData name="Alina D" userId="24a60029abdc116d" providerId="LiveId" clId="{162D3661-38AC-43C0-9102-0FF0CDDBDC47}" dt="2018-04-29T12:25:25.992" v="13158" actId="478"/>
          <ac:spMkLst>
            <pc:docMk/>
            <pc:sldMk cId="1349911159" sldId="272"/>
            <ac:spMk id="51" creationId="{B7DC55BB-6208-48C3-BE49-9EE5A1693E20}"/>
          </ac:spMkLst>
        </pc:spChg>
        <pc:spChg chg="del mod ord">
          <ac:chgData name="Alina D" userId="24a60029abdc116d" providerId="LiveId" clId="{162D3661-38AC-43C0-9102-0FF0CDDBDC47}" dt="2018-04-29T12:25:25.993" v="13159" actId="478"/>
          <ac:spMkLst>
            <pc:docMk/>
            <pc:sldMk cId="1349911159" sldId="272"/>
            <ac:spMk id="52" creationId="{6B990169-3210-4AA1-A78E-9730DEED3DAB}"/>
          </ac:spMkLst>
        </pc:spChg>
        <pc:spChg chg="del mod ord">
          <ac:chgData name="Alina D" userId="24a60029abdc116d" providerId="LiveId" clId="{162D3661-38AC-43C0-9102-0FF0CDDBDC47}" dt="2018-04-29T12:25:25.993" v="13160" actId="478"/>
          <ac:spMkLst>
            <pc:docMk/>
            <pc:sldMk cId="1349911159" sldId="272"/>
            <ac:spMk id="53" creationId="{E4FF02EC-0135-42B8-90E5-79E004E4D1D4}"/>
          </ac:spMkLst>
        </pc:spChg>
        <pc:spChg chg="del mod ord">
          <ac:chgData name="Alina D" userId="24a60029abdc116d" providerId="LiveId" clId="{162D3661-38AC-43C0-9102-0FF0CDDBDC47}" dt="2018-04-29T12:25:25.993" v="13161" actId="478"/>
          <ac:spMkLst>
            <pc:docMk/>
            <pc:sldMk cId="1349911159" sldId="272"/>
            <ac:spMk id="54" creationId="{B33C011B-F01C-4A76-8477-1341452C7897}"/>
          </ac:spMkLst>
        </pc:spChg>
        <pc:spChg chg="del mod ord">
          <ac:chgData name="Alina D" userId="24a60029abdc116d" providerId="LiveId" clId="{162D3661-38AC-43C0-9102-0FF0CDDBDC47}" dt="2018-04-29T12:25:25.994" v="13162" actId="478"/>
          <ac:spMkLst>
            <pc:docMk/>
            <pc:sldMk cId="1349911159" sldId="272"/>
            <ac:spMk id="55" creationId="{3C15341A-946C-4F79-A7BA-3797B6DD86FE}"/>
          </ac:spMkLst>
        </pc:spChg>
        <pc:spChg chg="del mod ord">
          <ac:chgData name="Alina D" userId="24a60029abdc116d" providerId="LiveId" clId="{162D3661-38AC-43C0-9102-0FF0CDDBDC47}" dt="2018-04-29T12:25:25.994" v="13163" actId="478"/>
          <ac:spMkLst>
            <pc:docMk/>
            <pc:sldMk cId="1349911159" sldId="272"/>
            <ac:spMk id="56" creationId="{507B2237-1760-4F7F-B8C5-6D349663AB5B}"/>
          </ac:spMkLst>
        </pc:spChg>
        <pc:spChg chg="del mod ord">
          <ac:chgData name="Alina D" userId="24a60029abdc116d" providerId="LiveId" clId="{162D3661-38AC-43C0-9102-0FF0CDDBDC47}" dt="2018-04-29T12:25:25.995" v="13164" actId="478"/>
          <ac:spMkLst>
            <pc:docMk/>
            <pc:sldMk cId="1349911159" sldId="272"/>
            <ac:spMk id="57" creationId="{1902AB1E-12CF-44BB-9A02-3281C6C6B1DE}"/>
          </ac:spMkLst>
        </pc:spChg>
        <pc:spChg chg="del mod ord">
          <ac:chgData name="Alina D" userId="24a60029abdc116d" providerId="LiveId" clId="{162D3661-38AC-43C0-9102-0FF0CDDBDC47}" dt="2018-04-29T12:25:25.995" v="13165" actId="478"/>
          <ac:spMkLst>
            <pc:docMk/>
            <pc:sldMk cId="1349911159" sldId="272"/>
            <ac:spMk id="58" creationId="{A407F9BB-6E5C-4DF1-A9AC-C99D7514A979}"/>
          </ac:spMkLst>
        </pc:spChg>
        <pc:spChg chg="del mod ord">
          <ac:chgData name="Alina D" userId="24a60029abdc116d" providerId="LiveId" clId="{162D3661-38AC-43C0-9102-0FF0CDDBDC47}" dt="2018-04-29T12:25:25.995" v="13166" actId="478"/>
          <ac:spMkLst>
            <pc:docMk/>
            <pc:sldMk cId="1349911159" sldId="272"/>
            <ac:spMk id="59" creationId="{04991869-C3CE-4DAF-9983-CB5B39B03E20}"/>
          </ac:spMkLst>
        </pc:spChg>
        <pc:spChg chg="del mod ord">
          <ac:chgData name="Alina D" userId="24a60029abdc116d" providerId="LiveId" clId="{162D3661-38AC-43C0-9102-0FF0CDDBDC47}" dt="2018-04-29T12:25:25.995" v="13167" actId="478"/>
          <ac:spMkLst>
            <pc:docMk/>
            <pc:sldMk cId="1349911159" sldId="272"/>
            <ac:spMk id="60" creationId="{B0B290D1-5F44-4FFA-BCCB-BC5DDB2C9AEE}"/>
          </ac:spMkLst>
        </pc:spChg>
        <pc:spChg chg="del mod ord">
          <ac:chgData name="Alina D" userId="24a60029abdc116d" providerId="LiveId" clId="{162D3661-38AC-43C0-9102-0FF0CDDBDC47}" dt="2018-04-29T12:25:25.995" v="13168" actId="478"/>
          <ac:spMkLst>
            <pc:docMk/>
            <pc:sldMk cId="1349911159" sldId="272"/>
            <ac:spMk id="61" creationId="{1157A778-1864-43FB-932C-AB867BB73D95}"/>
          </ac:spMkLst>
        </pc:spChg>
        <pc:spChg chg="add mod ord">
          <ac:chgData name="Alina D" userId="24a60029abdc116d" providerId="LiveId" clId="{162D3661-38AC-43C0-9102-0FF0CDDBDC47}" dt="2018-04-29T12:25:26.860" v="14037" actId="20577"/>
          <ac:spMkLst>
            <pc:docMk/>
            <pc:sldMk cId="1349911159" sldId="272"/>
            <ac:spMk id="65" creationId="{35B172DC-E7C6-4812-AA94-98FAF55122E3}"/>
          </ac:spMkLst>
        </pc:spChg>
        <pc:spChg chg="mod ord">
          <ac:chgData name="Alina D" userId="24a60029abdc116d" providerId="LiveId" clId="{162D3661-38AC-43C0-9102-0FF0CDDBDC47}" dt="2018-04-29T12:25:26.860" v="14038" actId="20577"/>
          <ac:spMkLst>
            <pc:docMk/>
            <pc:sldMk cId="1349911159" sldId="272"/>
            <ac:spMk id="66" creationId="{C7AD49CA-B727-46FC-BEB6-585B451B5FDF}"/>
          </ac:spMkLst>
        </pc:spChg>
        <pc:spChg chg="mod ord">
          <ac:chgData name="Alina D" userId="24a60029abdc116d" providerId="LiveId" clId="{162D3661-38AC-43C0-9102-0FF0CDDBDC47}" dt="2018-04-29T12:25:26.860" v="14039" actId="20577"/>
          <ac:spMkLst>
            <pc:docMk/>
            <pc:sldMk cId="1349911159" sldId="272"/>
            <ac:spMk id="67" creationId="{677DE9A7-2AF8-4F67-983F-C28EA56548E0}"/>
          </ac:spMkLst>
        </pc:spChg>
        <pc:spChg chg="mod ord">
          <ac:chgData name="Alina D" userId="24a60029abdc116d" providerId="LiveId" clId="{162D3661-38AC-43C0-9102-0FF0CDDBDC47}" dt="2018-04-29T12:25:26.860" v="14040" actId="20577"/>
          <ac:spMkLst>
            <pc:docMk/>
            <pc:sldMk cId="1349911159" sldId="272"/>
            <ac:spMk id="68" creationId="{6649A660-BE0A-4D4C-AB16-9D7581ECB008}"/>
          </ac:spMkLst>
        </pc:spChg>
        <pc:spChg chg="mod ord">
          <ac:chgData name="Alina D" userId="24a60029abdc116d" providerId="LiveId" clId="{162D3661-38AC-43C0-9102-0FF0CDDBDC47}" dt="2018-04-29T12:25:26.860" v="14041" actId="20577"/>
          <ac:spMkLst>
            <pc:docMk/>
            <pc:sldMk cId="1349911159" sldId="272"/>
            <ac:spMk id="69" creationId="{D7724C56-429F-4B0E-9258-B56FCDE2A2F7}"/>
          </ac:spMkLst>
        </pc:spChg>
        <pc:spChg chg="mod ord">
          <ac:chgData name="Alina D" userId="24a60029abdc116d" providerId="LiveId" clId="{162D3661-38AC-43C0-9102-0FF0CDDBDC47}" dt="2018-04-29T12:25:26.860" v="14042" actId="20577"/>
          <ac:spMkLst>
            <pc:docMk/>
            <pc:sldMk cId="1349911159" sldId="272"/>
            <ac:spMk id="70" creationId="{7BF34BF9-63DE-454A-B8BD-35F005037B77}"/>
          </ac:spMkLst>
        </pc:spChg>
        <pc:spChg chg="mod ord">
          <ac:chgData name="Alina D" userId="24a60029abdc116d" providerId="LiveId" clId="{162D3661-38AC-43C0-9102-0FF0CDDBDC47}" dt="2018-04-29T12:25:26.860" v="14043" actId="20577"/>
          <ac:spMkLst>
            <pc:docMk/>
            <pc:sldMk cId="1349911159" sldId="272"/>
            <ac:spMk id="71" creationId="{A46E7EEF-6587-4E23-9D16-D385481D51C8}"/>
          </ac:spMkLst>
        </pc:spChg>
        <pc:spChg chg="mod ord">
          <ac:chgData name="Alina D" userId="24a60029abdc116d" providerId="LiveId" clId="{162D3661-38AC-43C0-9102-0FF0CDDBDC47}" dt="2018-04-29T12:25:26.860" v="14044" actId="20577"/>
          <ac:spMkLst>
            <pc:docMk/>
            <pc:sldMk cId="1349911159" sldId="272"/>
            <ac:spMk id="72" creationId="{EB2882F9-BE20-4979-8A4A-17B7D8E0275A}"/>
          </ac:spMkLst>
        </pc:spChg>
        <pc:spChg chg="mod ord">
          <ac:chgData name="Alina D" userId="24a60029abdc116d" providerId="LiveId" clId="{162D3661-38AC-43C0-9102-0FF0CDDBDC47}" dt="2018-04-29T12:25:26.860" v="14045" actId="20577"/>
          <ac:spMkLst>
            <pc:docMk/>
            <pc:sldMk cId="1349911159" sldId="272"/>
            <ac:spMk id="73" creationId="{8E262879-A6C2-4139-8875-A82603FED8D0}"/>
          </ac:spMkLst>
        </pc:spChg>
        <pc:spChg chg="mod ord">
          <ac:chgData name="Alina D" userId="24a60029abdc116d" providerId="LiveId" clId="{162D3661-38AC-43C0-9102-0FF0CDDBDC47}" dt="2018-04-29T12:25:26.860" v="14046" actId="20577"/>
          <ac:spMkLst>
            <pc:docMk/>
            <pc:sldMk cId="1349911159" sldId="272"/>
            <ac:spMk id="74" creationId="{1C4AD51A-58D9-4134-8B49-029E1C385D6D}"/>
          </ac:spMkLst>
        </pc:spChg>
        <pc:spChg chg="mod ord">
          <ac:chgData name="Alina D" userId="24a60029abdc116d" providerId="LiveId" clId="{162D3661-38AC-43C0-9102-0FF0CDDBDC47}" dt="2018-04-29T12:25:26.860" v="14047" actId="20577"/>
          <ac:spMkLst>
            <pc:docMk/>
            <pc:sldMk cId="1349911159" sldId="272"/>
            <ac:spMk id="75" creationId="{6FBA3AE1-036A-4609-8807-417AE089E2CC}"/>
          </ac:spMkLst>
        </pc:spChg>
        <pc:cxnChg chg="del mod ord">
          <ac:chgData name="Alina D" userId="24a60029abdc116d" providerId="LiveId" clId="{162D3661-38AC-43C0-9102-0FF0CDDBDC47}" dt="2018-04-29T11:57:58.629" v="3975" actId="478"/>
          <ac:cxnSpMkLst>
            <pc:docMk/>
            <pc:sldMk cId="1349911159" sldId="272"/>
            <ac:cxnSpMk id="15" creationId="{C97AEE54-8589-42D2-A6B1-62E19D92AEB5}"/>
          </ac:cxnSpMkLst>
        </pc:cxnChg>
        <pc:cxnChg chg="del mod ord">
          <ac:chgData name="Alina D" userId="24a60029abdc116d" providerId="LiveId" clId="{162D3661-38AC-43C0-9102-0FF0CDDBDC47}" dt="2018-04-29T11:57:58.629" v="3976" actId="478"/>
          <ac:cxnSpMkLst>
            <pc:docMk/>
            <pc:sldMk cId="1349911159" sldId="272"/>
            <ac:cxnSpMk id="16" creationId="{D65865E8-44D3-41C2-8A69-CC4FEB7A741B}"/>
          </ac:cxnSpMkLst>
        </pc:cxnChg>
        <pc:cxnChg chg="del mod ord">
          <ac:chgData name="Alina D" userId="24a60029abdc116d" providerId="LiveId" clId="{162D3661-38AC-43C0-9102-0FF0CDDBDC47}" dt="2018-04-29T11:58:12.405" v="6876" actId="478"/>
          <ac:cxnSpMkLst>
            <pc:docMk/>
            <pc:sldMk cId="1349911159" sldId="272"/>
            <ac:cxnSpMk id="31" creationId="{F42788A0-8974-430C-B577-C2E9E36E4CFE}"/>
          </ac:cxnSpMkLst>
        </pc:cxnChg>
        <pc:cxnChg chg="del mod ord">
          <ac:chgData name="Alina D" userId="24a60029abdc116d" providerId="LiveId" clId="{162D3661-38AC-43C0-9102-0FF0CDDBDC47}" dt="2018-04-29T11:58:12.405" v="6877" actId="478"/>
          <ac:cxnSpMkLst>
            <pc:docMk/>
            <pc:sldMk cId="1349911159" sldId="272"/>
            <ac:cxnSpMk id="32" creationId="{CE7BBAD2-D29A-46F4-8355-E9EB969C8F1E}"/>
          </ac:cxnSpMkLst>
        </pc:cxnChg>
        <pc:cxnChg chg="del mod ord">
          <ac:chgData name="Alina D" userId="24a60029abdc116d" providerId="LiveId" clId="{162D3661-38AC-43C0-9102-0FF0CDDBDC47}" dt="2018-04-29T12:24:41.205" v="11388" actId="478"/>
          <ac:cxnSpMkLst>
            <pc:docMk/>
            <pc:sldMk cId="1349911159" sldId="272"/>
            <ac:cxnSpMk id="47" creationId="{33680B87-0B84-4368-AEA4-28ADB752D4E4}"/>
          </ac:cxnSpMkLst>
        </pc:cxnChg>
        <pc:cxnChg chg="del mod ord">
          <ac:chgData name="Alina D" userId="24a60029abdc116d" providerId="LiveId" clId="{162D3661-38AC-43C0-9102-0FF0CDDBDC47}" dt="2018-04-29T12:24:41.205" v="11389" actId="478"/>
          <ac:cxnSpMkLst>
            <pc:docMk/>
            <pc:sldMk cId="1349911159" sldId="272"/>
            <ac:cxnSpMk id="48" creationId="{DC6D1048-AFCC-43D8-A1F9-2D3E0822F169}"/>
          </ac:cxnSpMkLst>
        </pc:cxnChg>
        <pc:cxnChg chg="del mod ord">
          <ac:chgData name="Alina D" userId="24a60029abdc116d" providerId="LiveId" clId="{162D3661-38AC-43C0-9102-0FF0CDDBDC47}" dt="2018-04-29T12:25:25.998" v="13169" actId="478"/>
          <ac:cxnSpMkLst>
            <pc:docMk/>
            <pc:sldMk cId="1349911159" sldId="272"/>
            <ac:cxnSpMk id="62" creationId="{4DE7991D-742F-4B1B-85AF-FD4EE1F20F76}"/>
          </ac:cxnSpMkLst>
        </pc:cxnChg>
        <pc:cxnChg chg="del mod ord">
          <ac:chgData name="Alina D" userId="24a60029abdc116d" providerId="LiveId" clId="{162D3661-38AC-43C0-9102-0FF0CDDBDC47}" dt="2018-04-29T12:25:25.998" v="13170" actId="478"/>
          <ac:cxnSpMkLst>
            <pc:docMk/>
            <pc:sldMk cId="1349911159" sldId="272"/>
            <ac:cxnSpMk id="63" creationId="{EEBE1FC8-2F2C-4935-B3C5-6BB6FFDFE317}"/>
          </ac:cxnSpMkLst>
        </pc:cxnChg>
        <pc:cxnChg chg="mod ord">
          <ac:chgData name="Alina D" userId="24a60029abdc116d" providerId="LiveId" clId="{162D3661-38AC-43C0-9102-0FF0CDDBDC47}" dt="2018-04-29T12:25:26.860" v="14048" actId="20577"/>
          <ac:cxnSpMkLst>
            <pc:docMk/>
            <pc:sldMk cId="1349911159" sldId="272"/>
            <ac:cxnSpMk id="76" creationId="{3839F6DD-FC66-4FE0-A71A-97C1369E714B}"/>
          </ac:cxnSpMkLst>
        </pc:cxnChg>
        <pc:cxnChg chg="mod ord">
          <ac:chgData name="Alina D" userId="24a60029abdc116d" providerId="LiveId" clId="{162D3661-38AC-43C0-9102-0FF0CDDBDC47}" dt="2018-04-29T12:25:26.860" v="14049" actId="20577"/>
          <ac:cxnSpMkLst>
            <pc:docMk/>
            <pc:sldMk cId="1349911159" sldId="272"/>
            <ac:cxnSpMk id="77" creationId="{DDA950D4-0D39-4A80-8E6F-BB388464B9F8}"/>
          </ac:cxnSpMkLst>
        </pc:cxnChg>
      </pc:sldChg>
      <pc:sldChg chg="addSp delSp modSp add">
        <pc:chgData name="Alina D" userId="24a60029abdc116d" providerId="LiveId" clId="{162D3661-38AC-43C0-9102-0FF0CDDBDC47}" dt="2018-04-29T12:13:09.215" v="9250" actId="20577"/>
        <pc:sldMkLst>
          <pc:docMk/>
          <pc:sldMk cId="2644856960" sldId="273"/>
        </pc:sldMkLst>
        <pc:spChg chg="del">
          <ac:chgData name="Alina D" userId="24a60029abdc116d" providerId="LiveId" clId="{162D3661-38AC-43C0-9102-0FF0CDDBDC47}" dt="2018-04-29T12:04:16.422" v="8271" actId="20577"/>
          <ac:spMkLst>
            <pc:docMk/>
            <pc:sldMk cId="2644856960" sldId="273"/>
            <ac:spMk id="2" creationId="{7814D179-2A74-4527-A099-201D14C3801E}"/>
          </ac:spMkLst>
        </pc:spChg>
        <pc:spChg chg="add mod">
          <ac:chgData name="Alina D" userId="24a60029abdc116d" providerId="LiveId" clId="{162D3661-38AC-43C0-9102-0FF0CDDBDC47}" dt="2018-04-29T12:13:09.215" v="9250" actId="20577"/>
          <ac:spMkLst>
            <pc:docMk/>
            <pc:sldMk cId="2644856960" sldId="273"/>
            <ac:spMk id="4" creationId="{54ED518C-4D0E-48BE-9114-6E9F4136AF96}"/>
          </ac:spMkLst>
        </pc:spChg>
        <pc:spChg chg="add mod">
          <ac:chgData name="Alina D" userId="24a60029abdc116d" providerId="LiveId" clId="{162D3661-38AC-43C0-9102-0FF0CDDBDC47}" dt="2018-04-29T12:12:47.630" v="9243" actId="20577"/>
          <ac:spMkLst>
            <pc:docMk/>
            <pc:sldMk cId="2644856960" sldId="273"/>
            <ac:spMk id="5" creationId="{98E55AD3-BFE3-4CC7-A495-9D6F81E6CFF6}"/>
          </ac:spMkLst>
        </pc:spChg>
      </pc:sldChg>
      <pc:sldChg chg="addSp delSp modSp add">
        <pc:chgData name="Alina D" userId="24a60029abdc116d" providerId="LiveId" clId="{162D3661-38AC-43C0-9102-0FF0CDDBDC47}" dt="2018-04-29T12:18:38.585" v="9853" actId="20577"/>
        <pc:sldMkLst>
          <pc:docMk/>
          <pc:sldMk cId="1943199137" sldId="274"/>
        </pc:sldMkLst>
        <pc:spChg chg="del">
          <ac:chgData name="Alina D" userId="24a60029abdc116d" providerId="LiveId" clId="{162D3661-38AC-43C0-9102-0FF0CDDBDC47}" dt="2018-04-29T12:04:19.005" v="8272" actId="20577"/>
          <ac:spMkLst>
            <pc:docMk/>
            <pc:sldMk cId="1943199137" sldId="274"/>
            <ac:spMk id="2" creationId="{F053A7F7-4917-4B88-B8CD-90DE1B9C40B9}"/>
          </ac:spMkLst>
        </pc:spChg>
        <pc:spChg chg="add mod">
          <ac:chgData name="Alina D" userId="24a60029abdc116d" providerId="LiveId" clId="{162D3661-38AC-43C0-9102-0FF0CDDBDC47}" dt="2018-04-29T12:18:38.585" v="9853" actId="20577"/>
          <ac:spMkLst>
            <pc:docMk/>
            <pc:sldMk cId="1943199137" sldId="274"/>
            <ac:spMk id="4" creationId="{7D9DB858-6B18-4A7C-BA7F-72698A124092}"/>
          </ac:spMkLst>
        </pc:spChg>
        <pc:spChg chg="add mod">
          <ac:chgData name="Alina D" userId="24a60029abdc116d" providerId="LiveId" clId="{162D3661-38AC-43C0-9102-0FF0CDDBDC47}" dt="2018-04-29T12:18:08.268" v="9836" actId="790"/>
          <ac:spMkLst>
            <pc:docMk/>
            <pc:sldMk cId="1943199137" sldId="274"/>
            <ac:spMk id="5" creationId="{1C8C9622-DB68-4D83-98E1-99645C1ECDCC}"/>
          </ac:spMkLst>
        </pc:spChg>
      </pc:sldChg>
      <pc:sldChg chg="modSp add">
        <pc:chgData name="Alina D" userId="24a60029abdc116d" providerId="LiveId" clId="{162D3661-38AC-43C0-9102-0FF0CDDBDC47}" dt="2018-04-29T12:03:09.097" v="8250" actId="20577"/>
        <pc:sldMkLst>
          <pc:docMk/>
          <pc:sldMk cId="2825199292" sldId="284"/>
        </pc:sldMkLst>
        <pc:spChg chg="mod">
          <ac:chgData name="Alina D" userId="24a60029abdc116d" providerId="LiveId" clId="{162D3661-38AC-43C0-9102-0FF0CDDBDC47}" dt="2018-04-29T12:03:09.097" v="8250" actId="20577"/>
          <ac:spMkLst>
            <pc:docMk/>
            <pc:sldMk cId="2825199292" sldId="284"/>
            <ac:spMk id="2" creationId="{E02423B1-C195-4B56-BAC0-AEFD46322B6F}"/>
          </ac:spMkLst>
        </pc:spChg>
      </pc:sldChg>
      <pc:sldChg chg="addSp delSp modSp add">
        <pc:chgData name="Alina D" userId="24a60029abdc116d" providerId="LiveId" clId="{162D3661-38AC-43C0-9102-0FF0CDDBDC47}" dt="2018-04-29T12:03:30.905" v="8268" actId="20577"/>
        <pc:sldMkLst>
          <pc:docMk/>
          <pc:sldMk cId="3057305974" sldId="285"/>
        </pc:sldMkLst>
        <pc:spChg chg="del">
          <ac:chgData name="Alina D" userId="24a60029abdc116d" providerId="LiveId" clId="{162D3661-38AC-43C0-9102-0FF0CDDBDC47}" dt="2018-04-29T12:03:16.487" v="8252" actId="20577"/>
          <ac:spMkLst>
            <pc:docMk/>
            <pc:sldMk cId="3057305974" sldId="285"/>
            <ac:spMk id="2" creationId="{6350DCDA-D567-46F4-B956-263FDBAA7CAE}"/>
          </ac:spMkLst>
        </pc:spChg>
        <pc:spChg chg="del">
          <ac:chgData name="Alina D" userId="24a60029abdc116d" providerId="LiveId" clId="{162D3661-38AC-43C0-9102-0FF0CDDBDC47}" dt="2018-04-29T12:03:16.487" v="8252" actId="20577"/>
          <ac:spMkLst>
            <pc:docMk/>
            <pc:sldMk cId="3057305974" sldId="285"/>
            <ac:spMk id="3" creationId="{EAED70DD-6C67-4C7E-8069-0B2860F0565C}"/>
          </ac:spMkLst>
        </pc:spChg>
        <pc:spChg chg="add mod">
          <ac:chgData name="Alina D" userId="24a60029abdc116d" providerId="LiveId" clId="{162D3661-38AC-43C0-9102-0FF0CDDBDC47}" dt="2018-04-29T12:03:30.905" v="8268" actId="20577"/>
          <ac:spMkLst>
            <pc:docMk/>
            <pc:sldMk cId="3057305974" sldId="285"/>
            <ac:spMk id="5" creationId="{1AAC8E4D-3A63-448A-8088-59E9819942FE}"/>
          </ac:spMkLst>
        </pc:spChg>
        <pc:spChg chg="add mod">
          <ac:chgData name="Alina D" userId="24a60029abdc116d" providerId="LiveId" clId="{162D3661-38AC-43C0-9102-0FF0CDDBDC47}" dt="2018-04-29T12:03:16.487" v="8252" actId="20577"/>
          <ac:spMkLst>
            <pc:docMk/>
            <pc:sldMk cId="3057305974" sldId="285"/>
            <ac:spMk id="6" creationId="{F42C1252-736C-4526-9554-1E305F509A2A}"/>
          </ac:spMkLst>
        </pc:spChg>
      </pc:sldChg>
      <pc:sldChg chg="modSp add">
        <pc:chgData name="Alina D" userId="24a60029abdc116d" providerId="LiveId" clId="{162D3661-38AC-43C0-9102-0FF0CDDBDC47}" dt="2018-04-29T12:27:35.997" v="14371" actId="20577"/>
        <pc:sldMkLst>
          <pc:docMk/>
          <pc:sldMk cId="3410100737" sldId="289"/>
        </pc:sldMkLst>
        <pc:spChg chg="mod">
          <ac:chgData name="Alina D" userId="24a60029abdc116d" providerId="LiveId" clId="{162D3661-38AC-43C0-9102-0FF0CDDBDC47}" dt="2018-04-29T12:26:21.675" v="14095" actId="20577"/>
          <ac:spMkLst>
            <pc:docMk/>
            <pc:sldMk cId="3410100737" sldId="289"/>
            <ac:spMk id="2" creationId="{1C9DC9C2-A44F-4A48-A8CA-AC6F92EB4BAC}"/>
          </ac:spMkLst>
        </pc:spChg>
        <pc:spChg chg="mod">
          <ac:chgData name="Alina D" userId="24a60029abdc116d" providerId="LiveId" clId="{162D3661-38AC-43C0-9102-0FF0CDDBDC47}" dt="2018-04-29T12:27:35.997" v="14371" actId="20577"/>
          <ac:spMkLst>
            <pc:docMk/>
            <pc:sldMk cId="3410100737" sldId="289"/>
            <ac:spMk id="3" creationId="{7BA6CEC4-4991-4495-9E94-050BE2677871}"/>
          </ac:spMkLst>
        </pc:spChg>
      </pc:sldChg>
      <pc:sldChg chg="modSp add">
        <pc:chgData name="Alina D" userId="24a60029abdc116d" providerId="LiveId" clId="{162D3661-38AC-43C0-9102-0FF0CDDBDC47}" dt="2018-04-29T16:09:05.164" v="18926" actId="27636"/>
        <pc:sldMkLst>
          <pc:docMk/>
          <pc:sldMk cId="3358404566" sldId="294"/>
        </pc:sldMkLst>
        <pc:spChg chg="mod">
          <ac:chgData name="Alina D" userId="24a60029abdc116d" providerId="LiveId" clId="{162D3661-38AC-43C0-9102-0FF0CDDBDC47}" dt="2018-04-29T15:59:04.354" v="18132" actId="20577"/>
          <ac:spMkLst>
            <pc:docMk/>
            <pc:sldMk cId="3358404566" sldId="294"/>
            <ac:spMk id="2" creationId="{9343AD66-9CE4-4154-90E4-98E1B187EE54}"/>
          </ac:spMkLst>
        </pc:spChg>
        <pc:spChg chg="mod">
          <ac:chgData name="Alina D" userId="24a60029abdc116d" providerId="LiveId" clId="{162D3661-38AC-43C0-9102-0FF0CDDBDC47}" dt="2018-04-29T16:09:05.164" v="18926" actId="27636"/>
          <ac:spMkLst>
            <pc:docMk/>
            <pc:sldMk cId="3358404566" sldId="294"/>
            <ac:spMk id="3" creationId="{F6279175-B184-4154-A218-322E28BE43CC}"/>
          </ac:spMkLst>
        </pc:spChg>
      </pc:sldChg>
      <pc:sldChg chg="modSp add">
        <pc:chgData name="Alina D" userId="24a60029abdc116d" providerId="LiveId" clId="{162D3661-38AC-43C0-9102-0FF0CDDBDC47}" dt="2018-05-01T13:35:40.188" v="19599" actId="20577"/>
        <pc:sldMkLst>
          <pc:docMk/>
          <pc:sldMk cId="445956246" sldId="295"/>
        </pc:sldMkLst>
        <pc:spChg chg="mod">
          <ac:chgData name="Alina D" userId="24a60029abdc116d" providerId="LiveId" clId="{162D3661-38AC-43C0-9102-0FF0CDDBDC47}" dt="2018-04-29T16:09:20.174" v="18932" actId="20577"/>
          <ac:spMkLst>
            <pc:docMk/>
            <pc:sldMk cId="445956246" sldId="295"/>
            <ac:spMk id="2" creationId="{0807F57E-C326-495D-8008-FD3A3021FA87}"/>
          </ac:spMkLst>
        </pc:spChg>
        <pc:spChg chg="mod">
          <ac:chgData name="Alina D" userId="24a60029abdc116d" providerId="LiveId" clId="{162D3661-38AC-43C0-9102-0FF0CDDBDC47}" dt="2018-05-01T13:35:40.188" v="19599" actId="20577"/>
          <ac:spMkLst>
            <pc:docMk/>
            <pc:sldMk cId="445956246" sldId="295"/>
            <ac:spMk id="3" creationId="{5E7AE16A-6E67-45AD-A3F4-6B133C37F671}"/>
          </ac:spMkLst>
        </pc:spChg>
      </pc:sldChg>
      <pc:sldChg chg="modSp add">
        <pc:chgData name="Alina D" userId="24a60029abdc116d" providerId="LiveId" clId="{162D3661-38AC-43C0-9102-0FF0CDDBDC47}" dt="2018-05-01T14:14:02.395" v="23470" actId="20577"/>
        <pc:sldMkLst>
          <pc:docMk/>
          <pc:sldMk cId="610802918" sldId="296"/>
        </pc:sldMkLst>
        <pc:spChg chg="mod">
          <ac:chgData name="Alina D" userId="24a60029abdc116d" providerId="LiveId" clId="{162D3661-38AC-43C0-9102-0FF0CDDBDC47}" dt="2018-05-01T13:36:40.281" v="19619" actId="20577"/>
          <ac:spMkLst>
            <pc:docMk/>
            <pc:sldMk cId="610802918" sldId="296"/>
            <ac:spMk id="2" creationId="{97C71C10-93CD-400C-AE0E-0B03AA592768}"/>
          </ac:spMkLst>
        </pc:spChg>
        <pc:spChg chg="mod">
          <ac:chgData name="Alina D" userId="24a60029abdc116d" providerId="LiveId" clId="{162D3661-38AC-43C0-9102-0FF0CDDBDC47}" dt="2018-05-01T14:14:02.395" v="23470" actId="20577"/>
          <ac:spMkLst>
            <pc:docMk/>
            <pc:sldMk cId="610802918" sldId="296"/>
            <ac:spMk id="3" creationId="{963408C1-BE8A-41BC-83CC-678C213E8B8A}"/>
          </ac:spMkLst>
        </pc:spChg>
      </pc:sldChg>
      <pc:sldChg chg="modSp add">
        <pc:chgData name="Alina D" userId="24a60029abdc116d" providerId="LiveId" clId="{162D3661-38AC-43C0-9102-0FF0CDDBDC47}" dt="2018-05-01T13:53:18.520" v="22183" actId="20577"/>
        <pc:sldMkLst>
          <pc:docMk/>
          <pc:sldMk cId="2865056336" sldId="298"/>
        </pc:sldMkLst>
        <pc:spChg chg="mod">
          <ac:chgData name="Alina D" userId="24a60029abdc116d" providerId="LiveId" clId="{162D3661-38AC-43C0-9102-0FF0CDDBDC47}" dt="2018-05-01T13:47:33.161" v="21729" actId="20577"/>
          <ac:spMkLst>
            <pc:docMk/>
            <pc:sldMk cId="2865056336" sldId="298"/>
            <ac:spMk id="2" creationId="{4872FFB8-1833-4843-A857-F5E4F6B48924}"/>
          </ac:spMkLst>
        </pc:spChg>
        <pc:spChg chg="mod">
          <ac:chgData name="Alina D" userId="24a60029abdc116d" providerId="LiveId" clId="{162D3661-38AC-43C0-9102-0FF0CDDBDC47}" dt="2018-05-01T13:53:18.520" v="22183" actId="20577"/>
          <ac:spMkLst>
            <pc:docMk/>
            <pc:sldMk cId="2865056336" sldId="298"/>
            <ac:spMk id="3" creationId="{57136F48-BD58-4110-A5DC-548777B9DC70}"/>
          </ac:spMkLst>
        </pc:spChg>
      </pc:sldChg>
      <pc:sldChg chg="modSp add">
        <pc:chgData name="Alina D" userId="24a60029abdc116d" providerId="LiveId" clId="{162D3661-38AC-43C0-9102-0FF0CDDBDC47}" dt="2018-05-01T14:07:29.493" v="23468" actId="20577"/>
        <pc:sldMkLst>
          <pc:docMk/>
          <pc:sldMk cId="3633354373" sldId="302"/>
        </pc:sldMkLst>
        <pc:spChg chg="mod">
          <ac:chgData name="Alina D" userId="24a60029abdc116d" providerId="LiveId" clId="{162D3661-38AC-43C0-9102-0FF0CDDBDC47}" dt="2018-05-01T14:01:37.885" v="23286" actId="20577"/>
          <ac:spMkLst>
            <pc:docMk/>
            <pc:sldMk cId="3633354373" sldId="302"/>
            <ac:spMk id="2" creationId="{5427B539-17FC-4EA8-9638-4BDC685968FE}"/>
          </ac:spMkLst>
        </pc:spChg>
        <pc:spChg chg="mod">
          <ac:chgData name="Alina D" userId="24a60029abdc116d" providerId="LiveId" clId="{162D3661-38AC-43C0-9102-0FF0CDDBDC47}" dt="2018-05-01T14:07:29.493" v="23468" actId="20577"/>
          <ac:spMkLst>
            <pc:docMk/>
            <pc:sldMk cId="3633354373" sldId="302"/>
            <ac:spMk id="3" creationId="{79164DF6-B5C8-4A9E-9CFB-C2AFAFD423FA}"/>
          </ac:spMkLst>
        </pc:spChg>
      </pc:sldChg>
      <pc:sldMasterChg chg="addSp delSp modSp add del addSldLayout delSldLayout modSldLayout">
        <pc:chgData name="Alina D" userId="24a60029abdc116d" providerId="LiveId" clId="{162D3661-38AC-43C0-9102-0FF0CDDBDC47}" dt="2018-04-29T12:10:33.363" v="8935" actId="20577"/>
        <pc:sldMasterMkLst>
          <pc:docMk/>
          <pc:sldMasterMk cId="0" sldId="2147483648"/>
        </pc:sldMasterMkLst>
        <pc:spChg chg="del mod">
          <ac:chgData name="Alina D" userId="24a60029abdc116d" providerId="LiveId" clId="{162D3661-38AC-43C0-9102-0FF0CDDBDC47}" dt="2018-04-29T12:10:29.217" v="8934" actId="478"/>
          <ac:spMkLst>
            <pc:docMk/>
            <pc:sldMasterMk cId="0" sldId="2147483648"/>
            <ac:spMk id="2" creationId="{1ACC840F-5943-4206-95C0-3263D767B5C4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1" creationId="{00000000-0000-0000-0000-000000000000}"/>
          </ac:spMkLst>
        </pc:spChg>
        <pc:spChg chg="add del mod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3" creationId="{00000000-0000-0000-0000-000000000000}"/>
          </ac:spMkLst>
        </pc:spChg>
        <pc:spChg chg="del">
          <ac:chgData name="Alina D" userId="24a60029abdc116d" providerId="LiveId" clId="{162D3661-38AC-43C0-9102-0FF0CDDBDC47}" dt="2018-04-29T11:54:36.184" v="94" actId="478"/>
          <ac:spMkLst>
            <pc:docMk/>
            <pc:sldMasterMk cId="0" sldId="2147483648"/>
            <ac:spMk id="14" creationId="{00000000-0000-0000-0000-000000000000}"/>
          </ac:spMkLst>
        </pc:spChg>
        <pc:spChg chg="add">
          <ac:chgData name="Alina D" userId="24a60029abdc116d" providerId="LiveId" clId="{162D3661-38AC-43C0-9102-0FF0CDDBDC47}" dt="2018-04-29T12:10:33.363" v="8935" actId="20577"/>
          <ac:spMkLst>
            <pc:docMk/>
            <pc:sldMasterMk cId="0" sldId="2147483648"/>
            <ac:spMk id="15" creationId="{82467E02-E796-42A9-894E-480BC81AAC8C}"/>
          </ac:spMkLst>
        </pc:spChg>
        <pc:spChg chg="mod">
          <ac:chgData name="Alina D" userId="24a60029abdc116d" providerId="LiveId" clId="{162D3661-38AC-43C0-9102-0FF0CDDBDC47}" dt="2018-04-29T12:10:13.944" v="8931" actId="14100"/>
          <ac:spMkLst>
            <pc:docMk/>
            <pc:sldMasterMk cId="0" sldId="2147483648"/>
            <ac:spMk id="1027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32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37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38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40" creationId="{00000000-0000-0000-0000-000000000000}"/>
          </ac:spMkLst>
        </pc:spChg>
        <pc:picChg chg="add del">
          <ac:chgData name="Alina D" userId="24a60029abdc116d" providerId="LiveId" clId="{162D3661-38AC-43C0-9102-0FF0CDDBDC47}" dt="2018-04-29T11:58:45.257" v="8117" actId="20577"/>
          <ac:picMkLst>
            <pc:docMk/>
            <pc:sldMasterMk cId="0" sldId="2147483648"/>
            <ac:picMk id="1033" creationId="{00000000-0000-0000-0000-000000000000}"/>
          </ac:picMkLst>
        </pc:picChg>
        <pc:sldLayoutChg chg="addSp delSp add del">
          <pc:chgData name="Alina D" userId="24a60029abdc116d" providerId="LiveId" clId="{162D3661-38AC-43C0-9102-0FF0CDDBDC47}" dt="2018-04-29T11:58:45.257" v="8117" actId="20577"/>
          <pc:sldLayoutMkLst>
            <pc:docMk/>
            <pc:sldMasterMk cId="0" sldId="2147483648"/>
            <pc:sldLayoutMk cId="0" sldId="2147483649"/>
          </pc:sldLayoutMkLst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13" creationId="{1CF1B9CD-5719-46B4-88BB-CB5352F40794}"/>
            </ac:spMkLst>
          </pc:spChg>
          <pc:spChg chg="del">
            <ac:chgData name="Alina D" userId="24a60029abdc116d" providerId="LiveId" clId="{162D3661-38AC-43C0-9102-0FF0CDDBDC47}" dt="2018-04-29T11:55:09.179" v="97" actId="478"/>
            <ac:spMkLst>
              <pc:docMk/>
              <pc:sldMasterMk cId="0" sldId="2147483648"/>
              <pc:sldLayoutMk cId="0" sldId="2147483649"/>
              <ac:spMk id="14" creationId="{00000000-0000-0000-0000-000000000000}"/>
            </ac:spMkLst>
          </pc:spChg>
          <pc:spChg chg="del">
            <ac:chgData name="Alina D" userId="24a60029abdc116d" providerId="LiveId" clId="{162D3661-38AC-43C0-9102-0FF0CDDBDC47}" dt="2018-04-29T11:55:04.178" v="95" actId="478"/>
            <ac:spMkLst>
              <pc:docMk/>
              <pc:sldMasterMk cId="0" sldId="2147483648"/>
              <pc:sldLayoutMk cId="0" sldId="2147483649"/>
              <ac:spMk id="15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42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48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55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58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59" creationId="{00000000-0000-0000-0000-000000000000}"/>
            </ac:spMkLst>
          </pc:spChg>
          <pc:picChg chg="add del">
            <ac:chgData name="Alina D" userId="24a60029abdc116d" providerId="LiveId" clId="{162D3661-38AC-43C0-9102-0FF0CDDBDC47}" dt="2018-04-29T11:58:45.257" v="8117" actId="20577"/>
            <ac:picMkLst>
              <pc:docMk/>
              <pc:sldMasterMk cId="0" sldId="2147483648"/>
              <pc:sldLayoutMk cId="0" sldId="2147483649"/>
              <ac:picMk id="87049" creationId="{00000000-0000-0000-0000-000000000000}"/>
            </ac:picMkLst>
          </pc:picChg>
        </pc:sldLayoutChg>
        <pc:sldLayoutChg chg="addSp modSp add del">
          <pc:chgData name="Alina D" userId="24a60029abdc116d" providerId="LiveId" clId="{162D3661-38AC-43C0-9102-0FF0CDDBDC47}" dt="2018-04-29T12:10:23.422" v="8933" actId="14100"/>
          <pc:sldLayoutMkLst>
            <pc:docMk/>
            <pc:sldMasterMk cId="0" sldId="2147483648"/>
            <pc:sldLayoutMk cId="0" sldId="2147483650"/>
          </pc:sldLayoutMkLst>
          <pc:spChg chg="mod">
            <ac:chgData name="Alina D" userId="24a60029abdc116d" providerId="LiveId" clId="{162D3661-38AC-43C0-9102-0FF0CDDBDC47}" dt="2018-04-29T12:10:23.422" v="8933" actId="14100"/>
            <ac:spMkLst>
              <pc:docMk/>
              <pc:sldMasterMk cId="0" sldId="2147483648"/>
              <pc:sldLayoutMk cId="0" sldId="2147483650"/>
              <ac:spMk id="3" creationId="{00000000-0000-0000-0000-000000000000}"/>
            </ac:spMkLst>
          </pc:spChg>
          <pc:spChg chg="add">
            <ac:chgData name="Alina D" userId="24a60029abdc116d" providerId="LiveId" clId="{162D3661-38AC-43C0-9102-0FF0CDDBDC47}" dt="2018-04-29T12:01:19.505" v="8122" actId="14100"/>
            <ac:spMkLst>
              <pc:docMk/>
              <pc:sldMasterMk cId="0" sldId="2147483648"/>
              <pc:sldLayoutMk cId="0" sldId="2147483650"/>
              <ac:spMk id="4" creationId="{B3E411D7-BF9F-4C00-B2DA-CA18BC476550}"/>
            </ac:spMkLst>
          </pc:spChg>
        </pc:sldLayoutChg>
        <pc:sldLayoutChg chg="addSp add del">
          <pc:chgData name="Alina D" userId="24a60029abdc116d" providerId="LiveId" clId="{162D3661-38AC-43C0-9102-0FF0CDDBDC47}" dt="2018-04-29T12:01:20.759" v="8123" actId="20577"/>
          <pc:sldLayoutMkLst>
            <pc:docMk/>
            <pc:sldMasterMk cId="0" sldId="2147483648"/>
            <pc:sldLayoutMk cId="0" sldId="2147483651"/>
          </pc:sldLayoutMkLst>
          <pc:spChg chg="add">
            <ac:chgData name="Alina D" userId="24a60029abdc116d" providerId="LiveId" clId="{162D3661-38AC-43C0-9102-0FF0CDDBDC47}" dt="2018-04-29T12:01:20.759" v="8123" actId="20577"/>
            <ac:spMkLst>
              <pc:docMk/>
              <pc:sldMasterMk cId="0" sldId="2147483648"/>
              <pc:sldLayoutMk cId="0" sldId="2147483651"/>
              <ac:spMk id="4" creationId="{8B25F573-A96F-4F52-ABFA-DED50293DDDD}"/>
            </ac:spMkLst>
          </pc:spChg>
        </pc:sldLayoutChg>
        <pc:sldLayoutChg chg="addSp add del">
          <pc:chgData name="Alina D" userId="24a60029abdc116d" providerId="LiveId" clId="{162D3661-38AC-43C0-9102-0FF0CDDBDC47}" dt="2018-04-29T12:01:21.422" v="8124" actId="20577"/>
          <pc:sldLayoutMkLst>
            <pc:docMk/>
            <pc:sldMasterMk cId="0" sldId="2147483648"/>
            <pc:sldLayoutMk cId="0" sldId="2147483652"/>
          </pc:sldLayoutMkLst>
          <pc:spChg chg="add">
            <ac:chgData name="Alina D" userId="24a60029abdc116d" providerId="LiveId" clId="{162D3661-38AC-43C0-9102-0FF0CDDBDC47}" dt="2018-04-29T12:01:21.422" v="8124" actId="20577"/>
            <ac:spMkLst>
              <pc:docMk/>
              <pc:sldMasterMk cId="0" sldId="2147483648"/>
              <pc:sldLayoutMk cId="0" sldId="2147483652"/>
              <ac:spMk id="5" creationId="{702980CB-E236-40CE-B52C-C118152AD642}"/>
            </ac:spMkLst>
          </pc:spChg>
        </pc:sldLayoutChg>
        <pc:sldLayoutChg chg="addSp add del">
          <pc:chgData name="Alina D" userId="24a60029abdc116d" providerId="LiveId" clId="{162D3661-38AC-43C0-9102-0FF0CDDBDC47}" dt="2018-04-29T12:01:22.153" v="8125" actId="20577"/>
          <pc:sldLayoutMkLst>
            <pc:docMk/>
            <pc:sldMasterMk cId="0" sldId="2147483648"/>
            <pc:sldLayoutMk cId="0" sldId="2147483654"/>
          </pc:sldLayoutMkLst>
          <pc:spChg chg="add">
            <ac:chgData name="Alina D" userId="24a60029abdc116d" providerId="LiveId" clId="{162D3661-38AC-43C0-9102-0FF0CDDBDC47}" dt="2018-04-29T12:01:22.153" v="8125" actId="20577"/>
            <ac:spMkLst>
              <pc:docMk/>
              <pc:sldMasterMk cId="0" sldId="2147483648"/>
              <pc:sldLayoutMk cId="0" sldId="2147483654"/>
              <ac:spMk id="3" creationId="{4C0AABC1-2CA1-4A22-BB43-87948E345099}"/>
            </ac:spMkLst>
          </pc:spChg>
        </pc:sldLayoutChg>
        <pc:sldLayoutChg chg="addSp add del">
          <pc:chgData name="Alina D" userId="24a60029abdc116d" providerId="LiveId" clId="{162D3661-38AC-43C0-9102-0FF0CDDBDC47}" dt="2018-04-29T12:01:22.621" v="8126" actId="20577"/>
          <pc:sldLayoutMkLst>
            <pc:docMk/>
            <pc:sldMasterMk cId="0" sldId="2147483648"/>
            <pc:sldLayoutMk cId="0" sldId="2147483655"/>
          </pc:sldLayoutMkLst>
          <pc:spChg chg="add">
            <ac:chgData name="Alina D" userId="24a60029abdc116d" providerId="LiveId" clId="{162D3661-38AC-43C0-9102-0FF0CDDBDC47}" dt="2018-04-29T12:01:22.621" v="8126" actId="20577"/>
            <ac:spMkLst>
              <pc:docMk/>
              <pc:sldMasterMk cId="0" sldId="2147483648"/>
              <pc:sldLayoutMk cId="0" sldId="2147483655"/>
              <ac:spMk id="2" creationId="{5C3AEDF1-49EB-4446-8E5D-A07D6CD485DB}"/>
            </ac:spMkLst>
          </pc:spChg>
        </pc:sldLayoutChg>
        <pc:sldLayoutChg chg="addSp add del">
          <pc:chgData name="Alina D" userId="24a60029abdc116d" providerId="LiveId" clId="{162D3661-38AC-43C0-9102-0FF0CDDBDC47}" dt="2018-04-29T12:01:23.188" v="8127" actId="20577"/>
          <pc:sldLayoutMkLst>
            <pc:docMk/>
            <pc:sldMasterMk cId="0" sldId="2147483648"/>
            <pc:sldLayoutMk cId="0" sldId="2147483656"/>
          </pc:sldLayoutMkLst>
          <pc:spChg chg="add">
            <ac:chgData name="Alina D" userId="24a60029abdc116d" providerId="LiveId" clId="{162D3661-38AC-43C0-9102-0FF0CDDBDC47}" dt="2018-04-29T12:01:23.188" v="8127" actId="20577"/>
            <ac:spMkLst>
              <pc:docMk/>
              <pc:sldMasterMk cId="0" sldId="2147483648"/>
              <pc:sldLayoutMk cId="0" sldId="2147483656"/>
              <ac:spMk id="6" creationId="{1BBD0549-2E83-4796-BB51-48073A694EE5}"/>
            </ac:spMkLst>
          </pc:spChg>
        </pc:sldLayoutChg>
        <pc:sldLayoutChg chg="addSp add del">
          <pc:chgData name="Alina D" userId="24a60029abdc116d" providerId="LiveId" clId="{162D3661-38AC-43C0-9102-0FF0CDDBDC47}" dt="2018-04-29T12:01:23.638" v="8128" actId="20577"/>
          <pc:sldLayoutMkLst>
            <pc:docMk/>
            <pc:sldMasterMk cId="0" sldId="2147483648"/>
            <pc:sldLayoutMk cId="0" sldId="2147483657"/>
          </pc:sldLayoutMkLst>
          <pc:spChg chg="add">
            <ac:chgData name="Alina D" userId="24a60029abdc116d" providerId="LiveId" clId="{162D3661-38AC-43C0-9102-0FF0CDDBDC47}" dt="2018-04-29T12:01:23.638" v="8128" actId="20577"/>
            <ac:spMkLst>
              <pc:docMk/>
              <pc:sldMasterMk cId="0" sldId="2147483648"/>
              <pc:sldLayoutMk cId="0" sldId="2147483657"/>
              <ac:spMk id="5" creationId="{1C916E53-6656-40D0-B9AB-4673CAC33452}"/>
            </ac:spMkLst>
          </pc:spChg>
        </pc:sldLayoutChg>
      </pc:sldMasterChg>
    </pc:docChg>
  </pc:docChgLst>
  <pc:docChgLst>
    <pc:chgData name="Alina D" userId="24a60029abdc116d" providerId="LiveId" clId="{B2B885B0-7DDD-40D5-9AC7-E0D47B22B6DA}"/>
    <pc:docChg chg="undo custSel addSld delSld modSld sldOrd modSection">
      <pc:chgData name="Alina D" userId="24a60029abdc116d" providerId="LiveId" clId="{B2B885B0-7DDD-40D5-9AC7-E0D47B22B6DA}" dt="2018-06-03T10:52:45.186" v="9346" actId="2696"/>
      <pc:docMkLst>
        <pc:docMk/>
      </pc:docMkLst>
      <pc:sldChg chg="addSp delSp modSp">
        <pc:chgData name="Alina D" userId="24a60029abdc116d" providerId="LiveId" clId="{B2B885B0-7DDD-40D5-9AC7-E0D47B22B6DA}" dt="2018-06-03T10:52:44.729" v="8885" actId="2696"/>
        <pc:sldMkLst>
          <pc:docMk/>
          <pc:sldMk cId="1943975763" sldId="263"/>
        </pc:sldMkLst>
        <pc:spChg chg="add del mod ord">
          <ac:chgData name="Alina D" userId="24a60029abdc116d" providerId="LiveId" clId="{B2B885B0-7DDD-40D5-9AC7-E0D47B22B6DA}" dt="2018-06-03T10:52:27.930" v="7659" actId="478"/>
          <ac:spMkLst>
            <pc:docMk/>
            <pc:sldMk cId="1943975763" sldId="263"/>
            <ac:spMk id="3" creationId="{91F83B91-153C-47CE-8FD5-78B3D49004C8}"/>
          </ac:spMkLst>
        </pc:spChg>
        <pc:spChg chg="del mod ord">
          <ac:chgData name="Alina D" userId="24a60029abdc116d" providerId="LiveId" clId="{B2B885B0-7DDD-40D5-9AC7-E0D47B22B6DA}" dt="2018-06-03T10:52:27.933" v="7660" actId="478"/>
          <ac:spMkLst>
            <pc:docMk/>
            <pc:sldMk cId="1943975763" sldId="263"/>
            <ac:spMk id="4" creationId="{70DBC011-FD0E-489E-80E3-7EC286D25E0F}"/>
          </ac:spMkLst>
        </pc:spChg>
        <pc:spChg chg="del mod ord">
          <ac:chgData name="Alina D" userId="24a60029abdc116d" providerId="LiveId" clId="{B2B885B0-7DDD-40D5-9AC7-E0D47B22B6DA}" dt="2018-06-03T10:52:27.933" v="7661" actId="478"/>
          <ac:spMkLst>
            <pc:docMk/>
            <pc:sldMk cId="1943975763" sldId="263"/>
            <ac:spMk id="5" creationId="{DDCFD2E5-ED85-49B1-BEC6-2C5308E9B304}"/>
          </ac:spMkLst>
        </pc:spChg>
        <pc:spChg chg="del mod ord">
          <ac:chgData name="Alina D" userId="24a60029abdc116d" providerId="LiveId" clId="{B2B885B0-7DDD-40D5-9AC7-E0D47B22B6DA}" dt="2018-06-03T10:52:27.934" v="7662" actId="478"/>
          <ac:spMkLst>
            <pc:docMk/>
            <pc:sldMk cId="1943975763" sldId="263"/>
            <ac:spMk id="6" creationId="{6471C9EA-7DE6-47CC-832A-C315FBD7BC44}"/>
          </ac:spMkLst>
        </pc:spChg>
        <pc:spChg chg="del mod ord">
          <ac:chgData name="Alina D" userId="24a60029abdc116d" providerId="LiveId" clId="{B2B885B0-7DDD-40D5-9AC7-E0D47B22B6DA}" dt="2018-06-03T10:52:27.935" v="7663" actId="478"/>
          <ac:spMkLst>
            <pc:docMk/>
            <pc:sldMk cId="1943975763" sldId="263"/>
            <ac:spMk id="7" creationId="{FBE10959-5EC3-4DBB-AC2E-C00FD299DB25}"/>
          </ac:spMkLst>
        </pc:spChg>
        <pc:spChg chg="del mod ord">
          <ac:chgData name="Alina D" userId="24a60029abdc116d" providerId="LiveId" clId="{B2B885B0-7DDD-40D5-9AC7-E0D47B22B6DA}" dt="2018-06-03T10:52:27.935" v="7664" actId="478"/>
          <ac:spMkLst>
            <pc:docMk/>
            <pc:sldMk cId="1943975763" sldId="263"/>
            <ac:spMk id="8" creationId="{7E4AD7EE-51B3-4756-9C4C-3D311CBABFA1}"/>
          </ac:spMkLst>
        </pc:spChg>
        <pc:spChg chg="del mod ord">
          <ac:chgData name="Alina D" userId="24a60029abdc116d" providerId="LiveId" clId="{B2B885B0-7DDD-40D5-9AC7-E0D47B22B6DA}" dt="2018-06-03T10:52:27.936" v="7665" actId="478"/>
          <ac:spMkLst>
            <pc:docMk/>
            <pc:sldMk cId="1943975763" sldId="263"/>
            <ac:spMk id="9" creationId="{3A7885B3-1A3D-4A00-B6E5-24F5139D4EAB}"/>
          </ac:spMkLst>
        </pc:spChg>
        <pc:spChg chg="del mod ord">
          <ac:chgData name="Alina D" userId="24a60029abdc116d" providerId="LiveId" clId="{B2B885B0-7DDD-40D5-9AC7-E0D47B22B6DA}" dt="2018-06-03T10:52:27.936" v="7666" actId="478"/>
          <ac:spMkLst>
            <pc:docMk/>
            <pc:sldMk cId="1943975763" sldId="263"/>
            <ac:spMk id="10" creationId="{9DB2ACF9-78FA-4009-8D84-8EBB9E361044}"/>
          </ac:spMkLst>
        </pc:spChg>
        <pc:spChg chg="del mod ord">
          <ac:chgData name="Alina D" userId="24a60029abdc116d" providerId="LiveId" clId="{B2B885B0-7DDD-40D5-9AC7-E0D47B22B6DA}" dt="2018-06-03T10:52:27.937" v="7667" actId="478"/>
          <ac:spMkLst>
            <pc:docMk/>
            <pc:sldMk cId="1943975763" sldId="263"/>
            <ac:spMk id="11" creationId="{B5A609F6-8A2A-4A91-80D7-8B7CB86D12E3}"/>
          </ac:spMkLst>
        </pc:spChg>
        <pc:spChg chg="del mod ord">
          <ac:chgData name="Alina D" userId="24a60029abdc116d" providerId="LiveId" clId="{B2B885B0-7DDD-40D5-9AC7-E0D47B22B6DA}" dt="2018-06-03T10:52:27.937" v="7668" actId="478"/>
          <ac:spMkLst>
            <pc:docMk/>
            <pc:sldMk cId="1943975763" sldId="263"/>
            <ac:spMk id="12" creationId="{7C3BF0DB-52F1-4A7E-90FB-A33B264D2471}"/>
          </ac:spMkLst>
        </pc:spChg>
        <pc:spChg chg="del mod ord">
          <ac:chgData name="Alina D" userId="24a60029abdc116d" providerId="LiveId" clId="{B2B885B0-7DDD-40D5-9AC7-E0D47B22B6DA}" dt="2018-06-03T10:52:27.938" v="7669" actId="478"/>
          <ac:spMkLst>
            <pc:docMk/>
            <pc:sldMk cId="1943975763" sldId="263"/>
            <ac:spMk id="13" creationId="{8634931F-AB7B-464C-A919-C6041878C2BE}"/>
          </ac:spMkLst>
        </pc:spChg>
        <pc:spChg chg="add del mod ord">
          <ac:chgData name="Alina D" userId="24a60029abdc116d" providerId="LiveId" clId="{B2B885B0-7DDD-40D5-9AC7-E0D47B22B6DA}" dt="2018-06-03T10:52:44.594" v="8735" actId="478"/>
          <ac:spMkLst>
            <pc:docMk/>
            <pc:sldMk cId="1943975763" sldId="263"/>
            <ac:spMk id="15" creationId="{1AFA23E7-DC42-46D1-918C-D0A83A90C494}"/>
          </ac:spMkLst>
        </pc:spChg>
        <pc:spChg chg="del mod ord">
          <ac:chgData name="Alina D" userId="24a60029abdc116d" providerId="LiveId" clId="{B2B885B0-7DDD-40D5-9AC7-E0D47B22B6DA}" dt="2018-06-03T10:52:44.601" v="8736" actId="478"/>
          <ac:spMkLst>
            <pc:docMk/>
            <pc:sldMk cId="1943975763" sldId="263"/>
            <ac:spMk id="16" creationId="{67CB58EC-0640-4C03-98A4-CE5CAB51E344}"/>
          </ac:spMkLst>
        </pc:spChg>
        <pc:spChg chg="del mod ord">
          <ac:chgData name="Alina D" userId="24a60029abdc116d" providerId="LiveId" clId="{B2B885B0-7DDD-40D5-9AC7-E0D47B22B6DA}" dt="2018-06-03T10:52:44.601" v="8737" actId="478"/>
          <ac:spMkLst>
            <pc:docMk/>
            <pc:sldMk cId="1943975763" sldId="263"/>
            <ac:spMk id="17" creationId="{045E67DB-6AFC-48DF-9824-6CBB726D5317}"/>
          </ac:spMkLst>
        </pc:spChg>
        <pc:spChg chg="del mod ord">
          <ac:chgData name="Alina D" userId="24a60029abdc116d" providerId="LiveId" clId="{B2B885B0-7DDD-40D5-9AC7-E0D47B22B6DA}" dt="2018-06-03T10:52:44.602" v="8738" actId="478"/>
          <ac:spMkLst>
            <pc:docMk/>
            <pc:sldMk cId="1943975763" sldId="263"/>
            <ac:spMk id="18" creationId="{40AFA336-D940-49B5-879F-E1066DB3925A}"/>
          </ac:spMkLst>
        </pc:spChg>
        <pc:spChg chg="del mod ord">
          <ac:chgData name="Alina D" userId="24a60029abdc116d" providerId="LiveId" clId="{B2B885B0-7DDD-40D5-9AC7-E0D47B22B6DA}" dt="2018-06-03T10:52:44.602" v="8739" actId="478"/>
          <ac:spMkLst>
            <pc:docMk/>
            <pc:sldMk cId="1943975763" sldId="263"/>
            <ac:spMk id="19" creationId="{6E139583-150F-4942-A8AC-8E1C5949BCB4}"/>
          </ac:spMkLst>
        </pc:spChg>
        <pc:spChg chg="del mod ord">
          <ac:chgData name="Alina D" userId="24a60029abdc116d" providerId="LiveId" clId="{B2B885B0-7DDD-40D5-9AC7-E0D47B22B6DA}" dt="2018-06-03T10:52:44.602" v="8740" actId="478"/>
          <ac:spMkLst>
            <pc:docMk/>
            <pc:sldMk cId="1943975763" sldId="263"/>
            <ac:spMk id="20" creationId="{5FAE4550-3998-4D33-B210-4C94288854DD}"/>
          </ac:spMkLst>
        </pc:spChg>
        <pc:spChg chg="del mod ord">
          <ac:chgData name="Alina D" userId="24a60029abdc116d" providerId="LiveId" clId="{B2B885B0-7DDD-40D5-9AC7-E0D47B22B6DA}" dt="2018-06-03T10:52:44.602" v="8741" actId="478"/>
          <ac:spMkLst>
            <pc:docMk/>
            <pc:sldMk cId="1943975763" sldId="263"/>
            <ac:spMk id="21" creationId="{1145EF82-053B-4038-B3C8-C67E62C53BD8}"/>
          </ac:spMkLst>
        </pc:spChg>
        <pc:spChg chg="del mod ord">
          <ac:chgData name="Alina D" userId="24a60029abdc116d" providerId="LiveId" clId="{B2B885B0-7DDD-40D5-9AC7-E0D47B22B6DA}" dt="2018-06-03T10:52:44.604" v="8742" actId="478"/>
          <ac:spMkLst>
            <pc:docMk/>
            <pc:sldMk cId="1943975763" sldId="263"/>
            <ac:spMk id="22" creationId="{537CB044-D353-4E7F-B4A0-333B971C09DC}"/>
          </ac:spMkLst>
        </pc:spChg>
        <pc:spChg chg="del mod ord">
          <ac:chgData name="Alina D" userId="24a60029abdc116d" providerId="LiveId" clId="{B2B885B0-7DDD-40D5-9AC7-E0D47B22B6DA}" dt="2018-06-03T10:52:44.604" v="8743" actId="478"/>
          <ac:spMkLst>
            <pc:docMk/>
            <pc:sldMk cId="1943975763" sldId="263"/>
            <ac:spMk id="23" creationId="{5C5348B6-70A5-414F-9688-7DD6649C2E66}"/>
          </ac:spMkLst>
        </pc:spChg>
        <pc:spChg chg="add mod ord">
          <ac:chgData name="Alina D" userId="24a60029abdc116d" providerId="LiveId" clId="{B2B885B0-7DDD-40D5-9AC7-E0D47B22B6DA}" dt="2018-06-03T10:52:44.726" v="8877" actId="2696"/>
          <ac:spMkLst>
            <pc:docMk/>
            <pc:sldMk cId="1943975763" sldId="263"/>
            <ac:spMk id="25" creationId="{BF09F4B8-3088-463D-9B8F-04609BEB3BE7}"/>
          </ac:spMkLst>
        </pc:spChg>
        <pc:spChg chg="del">
          <ac:chgData name="Alina D" userId="24a60029abdc116d" providerId="LiveId" clId="{B2B885B0-7DDD-40D5-9AC7-E0D47B22B6DA}" dt="2018-06-03T10:27:32.638" v="6267" actId="478"/>
          <ac:spMkLst>
            <pc:docMk/>
            <pc:sldMk cId="1943975763" sldId="263"/>
            <ac:spMk id="26" creationId="{2B448E90-EBA9-434E-9B34-1D002C23292D}"/>
          </ac:spMkLst>
        </pc:spChg>
        <pc:spChg chg="del">
          <ac:chgData name="Alina D" userId="24a60029abdc116d" providerId="LiveId" clId="{B2B885B0-7DDD-40D5-9AC7-E0D47B22B6DA}" dt="2018-06-03T10:27:32.639" v="6268" actId="478"/>
          <ac:spMkLst>
            <pc:docMk/>
            <pc:sldMk cId="1943975763" sldId="263"/>
            <ac:spMk id="27" creationId="{8473E3C4-3C01-467D-99AB-07ED1734A088}"/>
          </ac:spMkLst>
        </pc:spChg>
        <pc:spChg chg="del">
          <ac:chgData name="Alina D" userId="24a60029abdc116d" providerId="LiveId" clId="{B2B885B0-7DDD-40D5-9AC7-E0D47B22B6DA}" dt="2018-06-03T10:27:32.640" v="6269" actId="478"/>
          <ac:spMkLst>
            <pc:docMk/>
            <pc:sldMk cId="1943975763" sldId="263"/>
            <ac:spMk id="28" creationId="{58A60C23-832D-470D-839E-5F8B16FCE373}"/>
          </ac:spMkLst>
        </pc:spChg>
        <pc:spChg chg="del">
          <ac:chgData name="Alina D" userId="24a60029abdc116d" providerId="LiveId" clId="{B2B885B0-7DDD-40D5-9AC7-E0D47B22B6DA}" dt="2018-06-03T10:27:32.640" v="6270" actId="478"/>
          <ac:spMkLst>
            <pc:docMk/>
            <pc:sldMk cId="1943975763" sldId="263"/>
            <ac:spMk id="29" creationId="{12631AB0-CF45-4338-BBFD-C33CE06791D9}"/>
          </ac:spMkLst>
        </pc:spChg>
        <pc:spChg chg="del">
          <ac:chgData name="Alina D" userId="24a60029abdc116d" providerId="LiveId" clId="{B2B885B0-7DDD-40D5-9AC7-E0D47B22B6DA}" dt="2018-06-03T10:27:32.641" v="6271" actId="478"/>
          <ac:spMkLst>
            <pc:docMk/>
            <pc:sldMk cId="1943975763" sldId="263"/>
            <ac:spMk id="30" creationId="{1F5319BA-5325-42BF-A505-EF1EF9F2607F}"/>
          </ac:spMkLst>
        </pc:spChg>
        <pc:spChg chg="del">
          <ac:chgData name="Alina D" userId="24a60029abdc116d" providerId="LiveId" clId="{B2B885B0-7DDD-40D5-9AC7-E0D47B22B6DA}" dt="2018-06-03T10:27:32.641" v="6272" actId="478"/>
          <ac:spMkLst>
            <pc:docMk/>
            <pc:sldMk cId="1943975763" sldId="263"/>
            <ac:spMk id="31" creationId="{2D37E94C-6390-42D9-A10A-3D9DDCC767CE}"/>
          </ac:spMkLst>
        </pc:spChg>
        <pc:spChg chg="del">
          <ac:chgData name="Alina D" userId="24a60029abdc116d" providerId="LiveId" clId="{B2B885B0-7DDD-40D5-9AC7-E0D47B22B6DA}" dt="2018-06-03T10:27:32.642" v="6273" actId="478"/>
          <ac:spMkLst>
            <pc:docMk/>
            <pc:sldMk cId="1943975763" sldId="263"/>
            <ac:spMk id="32" creationId="{6331A393-1C24-4D2D-8C74-921DC6497FBA}"/>
          </ac:spMkLst>
        </pc:spChg>
        <pc:spChg chg="del">
          <ac:chgData name="Alina D" userId="24a60029abdc116d" providerId="LiveId" clId="{B2B885B0-7DDD-40D5-9AC7-E0D47B22B6DA}" dt="2018-06-03T10:27:32.642" v="6274" actId="478"/>
          <ac:spMkLst>
            <pc:docMk/>
            <pc:sldMk cId="1943975763" sldId="263"/>
            <ac:spMk id="33" creationId="{425FBFCB-9239-4177-B3C7-04370B637DE7}"/>
          </ac:spMkLst>
        </pc:spChg>
        <pc:spChg chg="del">
          <ac:chgData name="Alina D" userId="24a60029abdc116d" providerId="LiveId" clId="{B2B885B0-7DDD-40D5-9AC7-E0D47B22B6DA}" dt="2018-06-03T10:27:32.643" v="6275" actId="478"/>
          <ac:spMkLst>
            <pc:docMk/>
            <pc:sldMk cId="1943975763" sldId="263"/>
            <ac:spMk id="34" creationId="{157A41A7-B1C1-41B8-AB01-A81160B00319}"/>
          </ac:spMkLst>
        </pc:spChg>
        <pc:spChg chg="del">
          <ac:chgData name="Alina D" userId="24a60029abdc116d" providerId="LiveId" clId="{B2B885B0-7DDD-40D5-9AC7-E0D47B22B6DA}" dt="2018-06-03T10:27:32.643" v="6276" actId="478"/>
          <ac:spMkLst>
            <pc:docMk/>
            <pc:sldMk cId="1943975763" sldId="263"/>
            <ac:spMk id="35" creationId="{6601D05C-AB94-4DBC-972F-E9EC911CDE6F}"/>
          </ac:spMkLst>
        </pc:spChg>
        <pc:spChg chg="del">
          <ac:chgData name="Alina D" userId="24a60029abdc116d" providerId="LiveId" clId="{B2B885B0-7DDD-40D5-9AC7-E0D47B22B6DA}" dt="2018-06-03T10:27:32.644" v="6277" actId="478"/>
          <ac:spMkLst>
            <pc:docMk/>
            <pc:sldMk cId="1943975763" sldId="263"/>
            <ac:spMk id="36" creationId="{66B058B9-5710-4A0F-9374-1D288423F112}"/>
          </ac:spMkLst>
        </pc:spChg>
        <pc:spChg chg="mod ord">
          <ac:chgData name="Alina D" userId="24a60029abdc116d" providerId="LiveId" clId="{B2B885B0-7DDD-40D5-9AC7-E0D47B22B6DA}" dt="2018-06-03T10:52:44.727" v="8878" actId="2696"/>
          <ac:spMkLst>
            <pc:docMk/>
            <pc:sldMk cId="1943975763" sldId="263"/>
            <ac:spMk id="37" creationId="{0AE41DB7-B433-42D8-8D33-E0B0E31ADA2E}"/>
          </ac:spMkLst>
        </pc:spChg>
        <pc:spChg chg="mod ord">
          <ac:chgData name="Alina D" userId="24a60029abdc116d" providerId="LiveId" clId="{B2B885B0-7DDD-40D5-9AC7-E0D47B22B6DA}" dt="2018-06-03T10:52:44.727" v="8879" actId="2696"/>
          <ac:spMkLst>
            <pc:docMk/>
            <pc:sldMk cId="1943975763" sldId="263"/>
            <ac:spMk id="38" creationId="{DB2FF113-3C85-4D70-BD19-7B5804C51627}"/>
          </ac:spMkLst>
        </pc:spChg>
        <pc:spChg chg="mod ord">
          <ac:chgData name="Alina D" userId="24a60029abdc116d" providerId="LiveId" clId="{B2B885B0-7DDD-40D5-9AC7-E0D47B22B6DA}" dt="2018-06-03T10:52:44.727" v="8880" actId="2696"/>
          <ac:spMkLst>
            <pc:docMk/>
            <pc:sldMk cId="1943975763" sldId="263"/>
            <ac:spMk id="39" creationId="{5D485CEA-A3E9-4B3E-9EAD-122D51850F56}"/>
          </ac:spMkLst>
        </pc:spChg>
        <pc:spChg chg="mod ord">
          <ac:chgData name="Alina D" userId="24a60029abdc116d" providerId="LiveId" clId="{B2B885B0-7DDD-40D5-9AC7-E0D47B22B6DA}" dt="2018-06-03T10:52:44.727" v="8881" actId="2696"/>
          <ac:spMkLst>
            <pc:docMk/>
            <pc:sldMk cId="1943975763" sldId="263"/>
            <ac:spMk id="40" creationId="{FF3439F3-0217-43EE-86A7-3FF1A365CB21}"/>
          </ac:spMkLst>
        </pc:spChg>
        <pc:spChg chg="mod ord">
          <ac:chgData name="Alina D" userId="24a60029abdc116d" providerId="LiveId" clId="{B2B885B0-7DDD-40D5-9AC7-E0D47B22B6DA}" dt="2018-06-03T10:52:44.727" v="8882" actId="2696"/>
          <ac:spMkLst>
            <pc:docMk/>
            <pc:sldMk cId="1943975763" sldId="263"/>
            <ac:spMk id="41" creationId="{A0423735-CFA1-43FE-A3AD-3C9B5C2023AD}"/>
          </ac:spMkLst>
        </pc:spChg>
        <pc:spChg chg="mod ord">
          <ac:chgData name="Alina D" userId="24a60029abdc116d" providerId="LiveId" clId="{B2B885B0-7DDD-40D5-9AC7-E0D47B22B6DA}" dt="2018-06-03T10:52:44.729" v="8883" actId="2696"/>
          <ac:spMkLst>
            <pc:docMk/>
            <pc:sldMk cId="1943975763" sldId="263"/>
            <ac:spMk id="42" creationId="{4146056A-518B-4100-A430-3F6EAAFC5EE3}"/>
          </ac:spMkLst>
        </pc:spChg>
        <pc:spChg chg="mod ord">
          <ac:chgData name="Alina D" userId="24a60029abdc116d" providerId="LiveId" clId="{B2B885B0-7DDD-40D5-9AC7-E0D47B22B6DA}" dt="2018-06-03T10:52:44.729" v="8884" actId="2696"/>
          <ac:spMkLst>
            <pc:docMk/>
            <pc:sldMk cId="1943975763" sldId="263"/>
            <ac:spMk id="44" creationId="{4591F437-BECD-435A-93FF-51A69F0A5918}"/>
          </ac:spMkLst>
        </pc:spChg>
        <pc:spChg chg="mod ord">
          <ac:chgData name="Alina D" userId="24a60029abdc116d" providerId="LiveId" clId="{B2B885B0-7DDD-40D5-9AC7-E0D47B22B6DA}" dt="2018-06-03T10:52:44.729" v="8885" actId="2696"/>
          <ac:spMkLst>
            <pc:docMk/>
            <pc:sldMk cId="1943975763" sldId="263"/>
            <ac:spMk id="45" creationId="{A2C933D1-C1E6-4815-9532-877129EFEBC7}"/>
          </ac:spMkLst>
        </pc:spChg>
      </pc:sldChg>
      <pc:sldChg chg="addSp delSp modSp">
        <pc:chgData name="Alina D" userId="24a60029abdc116d" providerId="LiveId" clId="{B2B885B0-7DDD-40D5-9AC7-E0D47B22B6DA}" dt="2018-06-03T10:52:44.827" v="8998" actId="2696"/>
        <pc:sldMkLst>
          <pc:docMk/>
          <pc:sldMk cId="1758302113" sldId="264"/>
        </pc:sldMkLst>
        <pc:spChg chg="add del mod ord">
          <ac:chgData name="Alina D" userId="24a60029abdc116d" providerId="LiveId" clId="{B2B885B0-7DDD-40D5-9AC7-E0D47B22B6DA}" dt="2018-06-03T10:52:27.946" v="7670" actId="478"/>
          <ac:spMkLst>
            <pc:docMk/>
            <pc:sldMk cId="1758302113" sldId="264"/>
            <ac:spMk id="3" creationId="{818335DF-3E39-4C5D-870F-1983569623A0}"/>
          </ac:spMkLst>
        </pc:spChg>
        <pc:spChg chg="del mod ord">
          <ac:chgData name="Alina D" userId="24a60029abdc116d" providerId="LiveId" clId="{B2B885B0-7DDD-40D5-9AC7-E0D47B22B6DA}" dt="2018-06-03T10:52:27.946" v="7671" actId="478"/>
          <ac:spMkLst>
            <pc:docMk/>
            <pc:sldMk cId="1758302113" sldId="264"/>
            <ac:spMk id="4" creationId="{B0FB1CDF-9A81-42FB-BF35-6A7F74F1739D}"/>
          </ac:spMkLst>
        </pc:spChg>
        <pc:spChg chg="del mod ord">
          <ac:chgData name="Alina D" userId="24a60029abdc116d" providerId="LiveId" clId="{B2B885B0-7DDD-40D5-9AC7-E0D47B22B6DA}" dt="2018-06-03T10:52:27.947" v="7672" actId="478"/>
          <ac:spMkLst>
            <pc:docMk/>
            <pc:sldMk cId="1758302113" sldId="264"/>
            <ac:spMk id="5" creationId="{DA0C65E2-6FCB-440B-9D94-CB09B9349DC6}"/>
          </ac:spMkLst>
        </pc:spChg>
        <pc:spChg chg="del mod ord">
          <ac:chgData name="Alina D" userId="24a60029abdc116d" providerId="LiveId" clId="{B2B885B0-7DDD-40D5-9AC7-E0D47B22B6DA}" dt="2018-06-03T10:52:27.949" v="7675" actId="478"/>
          <ac:spMkLst>
            <pc:docMk/>
            <pc:sldMk cId="1758302113" sldId="264"/>
            <ac:spMk id="8" creationId="{FD6C2DDD-3945-422D-93F9-564AAD86F3F7}"/>
          </ac:spMkLst>
        </pc:spChg>
        <pc:spChg chg="del mod ord">
          <ac:chgData name="Alina D" userId="24a60029abdc116d" providerId="LiveId" clId="{B2B885B0-7DDD-40D5-9AC7-E0D47B22B6DA}" dt="2018-06-03T10:52:27.950" v="7676" actId="478"/>
          <ac:spMkLst>
            <pc:docMk/>
            <pc:sldMk cId="1758302113" sldId="264"/>
            <ac:spMk id="9" creationId="{26982BEA-0719-4037-B9B7-B07F63FACB6D}"/>
          </ac:spMkLst>
        </pc:spChg>
        <pc:spChg chg="del mod ord">
          <ac:chgData name="Alina D" userId="24a60029abdc116d" providerId="LiveId" clId="{B2B885B0-7DDD-40D5-9AC7-E0D47B22B6DA}" dt="2018-06-03T10:52:27.950" v="7677" actId="478"/>
          <ac:spMkLst>
            <pc:docMk/>
            <pc:sldMk cId="1758302113" sldId="264"/>
            <ac:spMk id="10" creationId="{1C868C83-885A-4F4A-BC50-6108D1C0055D}"/>
          </ac:spMkLst>
        </pc:spChg>
        <pc:spChg chg="del mod ord">
          <ac:chgData name="Alina D" userId="24a60029abdc116d" providerId="LiveId" clId="{B2B885B0-7DDD-40D5-9AC7-E0D47B22B6DA}" dt="2018-06-03T10:52:27.951" v="7678" actId="478"/>
          <ac:spMkLst>
            <pc:docMk/>
            <pc:sldMk cId="1758302113" sldId="264"/>
            <ac:spMk id="11" creationId="{CEA98F51-9DF9-4924-8366-8E0FEA5A9812}"/>
          </ac:spMkLst>
        </pc:spChg>
        <pc:spChg chg="del mod ord">
          <ac:chgData name="Alina D" userId="24a60029abdc116d" providerId="LiveId" clId="{B2B885B0-7DDD-40D5-9AC7-E0D47B22B6DA}" dt="2018-06-03T10:52:27.951" v="7679" actId="478"/>
          <ac:spMkLst>
            <pc:docMk/>
            <pc:sldMk cId="1758302113" sldId="264"/>
            <ac:spMk id="12" creationId="{3E528970-2CC8-43F6-AFBD-483D0FD32879}"/>
          </ac:spMkLst>
        </pc:spChg>
        <pc:spChg chg="del mod ord">
          <ac:chgData name="Alina D" userId="24a60029abdc116d" providerId="LiveId" clId="{B2B885B0-7DDD-40D5-9AC7-E0D47B22B6DA}" dt="2018-06-03T10:52:27.951" v="7680" actId="478"/>
          <ac:spMkLst>
            <pc:docMk/>
            <pc:sldMk cId="1758302113" sldId="264"/>
            <ac:spMk id="13" creationId="{96EE7EAE-A7B5-4B60-BF54-DE4746A21B52}"/>
          </ac:spMkLst>
        </pc:spChg>
        <pc:spChg chg="del mod ord">
          <ac:chgData name="Alina D" userId="24a60029abdc116d" providerId="LiveId" clId="{B2B885B0-7DDD-40D5-9AC7-E0D47B22B6DA}" dt="2018-06-03T10:52:27.952" v="7681" actId="478"/>
          <ac:spMkLst>
            <pc:docMk/>
            <pc:sldMk cId="1758302113" sldId="264"/>
            <ac:spMk id="14" creationId="{BEBAE1DE-F4DE-45EB-A21C-FDE16D4B402E}"/>
          </ac:spMkLst>
        </pc:spChg>
        <pc:spChg chg="del mod ord">
          <ac:chgData name="Alina D" userId="24a60029abdc116d" providerId="LiveId" clId="{B2B885B0-7DDD-40D5-9AC7-E0D47B22B6DA}" dt="2018-06-03T10:52:27.953" v="7682" actId="478"/>
          <ac:spMkLst>
            <pc:docMk/>
            <pc:sldMk cId="1758302113" sldId="264"/>
            <ac:spMk id="15" creationId="{0FF30E1A-7503-4A60-A2F3-AB30BF45987B}"/>
          </ac:spMkLst>
        </pc:spChg>
        <pc:spChg chg="add del mod ord">
          <ac:chgData name="Alina D" userId="24a60029abdc116d" providerId="LiveId" clId="{B2B885B0-7DDD-40D5-9AC7-E0D47B22B6DA}" dt="2018-06-03T10:52:44.610" v="8744" actId="478"/>
          <ac:spMkLst>
            <pc:docMk/>
            <pc:sldMk cId="1758302113" sldId="264"/>
            <ac:spMk id="17" creationId="{CA79B65C-8A68-4DC6-9804-AFD48A7A3706}"/>
          </ac:spMkLst>
        </pc:spChg>
        <pc:spChg chg="del mod ord">
          <ac:chgData name="Alina D" userId="24a60029abdc116d" providerId="LiveId" clId="{B2B885B0-7DDD-40D5-9AC7-E0D47B22B6DA}" dt="2018-06-03T10:52:44.612" v="8745" actId="478"/>
          <ac:spMkLst>
            <pc:docMk/>
            <pc:sldMk cId="1758302113" sldId="264"/>
            <ac:spMk id="18" creationId="{D4764CFF-562B-4F5E-BC78-3FEA644476CB}"/>
          </ac:spMkLst>
        </pc:spChg>
        <pc:spChg chg="del mod ord">
          <ac:chgData name="Alina D" userId="24a60029abdc116d" providerId="LiveId" clId="{B2B885B0-7DDD-40D5-9AC7-E0D47B22B6DA}" dt="2018-06-03T10:52:44.612" v="8746" actId="478"/>
          <ac:spMkLst>
            <pc:docMk/>
            <pc:sldMk cId="1758302113" sldId="264"/>
            <ac:spMk id="19" creationId="{4659D8A6-E7D9-43F0-B7CA-D8A0959F9A82}"/>
          </ac:spMkLst>
        </pc:spChg>
        <pc:spChg chg="del mod ord">
          <ac:chgData name="Alina D" userId="24a60029abdc116d" providerId="LiveId" clId="{B2B885B0-7DDD-40D5-9AC7-E0D47B22B6DA}" dt="2018-06-03T10:52:44.614" v="8749" actId="478"/>
          <ac:spMkLst>
            <pc:docMk/>
            <pc:sldMk cId="1758302113" sldId="264"/>
            <ac:spMk id="22" creationId="{1E37C636-BBA0-48A8-A76D-1FC08B8B9526}"/>
          </ac:spMkLst>
        </pc:spChg>
        <pc:spChg chg="del mod ord">
          <ac:chgData name="Alina D" userId="24a60029abdc116d" providerId="LiveId" clId="{B2B885B0-7DDD-40D5-9AC7-E0D47B22B6DA}" dt="2018-06-03T10:52:44.614" v="8750" actId="478"/>
          <ac:spMkLst>
            <pc:docMk/>
            <pc:sldMk cId="1758302113" sldId="264"/>
            <ac:spMk id="23" creationId="{F1B2DFAB-E293-4B2F-B79F-8C3748292896}"/>
          </ac:spMkLst>
        </pc:spChg>
        <pc:spChg chg="del mod ord">
          <ac:chgData name="Alina D" userId="24a60029abdc116d" providerId="LiveId" clId="{B2B885B0-7DDD-40D5-9AC7-E0D47B22B6DA}" dt="2018-06-03T10:52:44.615" v="8751" actId="478"/>
          <ac:spMkLst>
            <pc:docMk/>
            <pc:sldMk cId="1758302113" sldId="264"/>
            <ac:spMk id="24" creationId="{3B8F2007-47A4-4E52-9129-DB7A8F0D5521}"/>
          </ac:spMkLst>
        </pc:spChg>
        <pc:spChg chg="del mod ord">
          <ac:chgData name="Alina D" userId="24a60029abdc116d" providerId="LiveId" clId="{B2B885B0-7DDD-40D5-9AC7-E0D47B22B6DA}" dt="2018-06-03T10:52:44.615" v="8752" actId="478"/>
          <ac:spMkLst>
            <pc:docMk/>
            <pc:sldMk cId="1758302113" sldId="264"/>
            <ac:spMk id="25" creationId="{A3853F30-276B-4DD7-B06A-9CBE0E73887D}"/>
          </ac:spMkLst>
        </pc:spChg>
        <pc:spChg chg="del mod ord">
          <ac:chgData name="Alina D" userId="24a60029abdc116d" providerId="LiveId" clId="{B2B885B0-7DDD-40D5-9AC7-E0D47B22B6DA}" dt="2018-06-03T10:52:44.615" v="8753" actId="478"/>
          <ac:spMkLst>
            <pc:docMk/>
            <pc:sldMk cId="1758302113" sldId="264"/>
            <ac:spMk id="26" creationId="{FEB1D335-869A-467B-ACF2-56577DAD4F53}"/>
          </ac:spMkLst>
        </pc:spChg>
        <pc:spChg chg="del mod ord">
          <ac:chgData name="Alina D" userId="24a60029abdc116d" providerId="LiveId" clId="{B2B885B0-7DDD-40D5-9AC7-E0D47B22B6DA}" dt="2018-06-03T10:52:44.616" v="8754" actId="478"/>
          <ac:spMkLst>
            <pc:docMk/>
            <pc:sldMk cId="1758302113" sldId="264"/>
            <ac:spMk id="27" creationId="{18DFB9F8-5BA9-4CA4-AF4A-6EB771C354C0}"/>
          </ac:spMkLst>
        </pc:spChg>
        <pc:spChg chg="add mod ord">
          <ac:chgData name="Alina D" userId="24a60029abdc116d" providerId="LiveId" clId="{B2B885B0-7DDD-40D5-9AC7-E0D47B22B6DA}" dt="2018-06-03T10:52:44.823" v="8988" actId="2696"/>
          <ac:spMkLst>
            <pc:docMk/>
            <pc:sldMk cId="1758302113" sldId="264"/>
            <ac:spMk id="29" creationId="{8DB10FFD-7A21-4C42-A849-466829AE425F}"/>
          </ac:spMkLst>
        </pc:spChg>
        <pc:spChg chg="del">
          <ac:chgData name="Alina D" userId="24a60029abdc116d" providerId="LiveId" clId="{B2B885B0-7DDD-40D5-9AC7-E0D47B22B6DA}" dt="2018-06-03T10:27:32.653" v="6278" actId="478"/>
          <ac:spMkLst>
            <pc:docMk/>
            <pc:sldMk cId="1758302113" sldId="264"/>
            <ac:spMk id="30" creationId="{713A1EAD-B670-473D-B13C-69890C5C8D03}"/>
          </ac:spMkLst>
        </pc:spChg>
        <pc:spChg chg="del">
          <ac:chgData name="Alina D" userId="24a60029abdc116d" providerId="LiveId" clId="{B2B885B0-7DDD-40D5-9AC7-E0D47B22B6DA}" dt="2018-06-03T10:27:32.654" v="6279" actId="478"/>
          <ac:spMkLst>
            <pc:docMk/>
            <pc:sldMk cId="1758302113" sldId="264"/>
            <ac:spMk id="31" creationId="{913135AF-F6C4-4003-ABB6-F00FC4BE0B43}"/>
          </ac:spMkLst>
        </pc:spChg>
        <pc:spChg chg="del">
          <ac:chgData name="Alina D" userId="24a60029abdc116d" providerId="LiveId" clId="{B2B885B0-7DDD-40D5-9AC7-E0D47B22B6DA}" dt="2018-06-03T10:27:32.654" v="6280" actId="478"/>
          <ac:spMkLst>
            <pc:docMk/>
            <pc:sldMk cId="1758302113" sldId="264"/>
            <ac:spMk id="32" creationId="{6EB088FA-9458-495C-A9D6-ADFA34C2B135}"/>
          </ac:spMkLst>
        </pc:spChg>
        <pc:spChg chg="del">
          <ac:chgData name="Alina D" userId="24a60029abdc116d" providerId="LiveId" clId="{B2B885B0-7DDD-40D5-9AC7-E0D47B22B6DA}" dt="2018-06-03T10:27:32.655" v="6283" actId="478"/>
          <ac:spMkLst>
            <pc:docMk/>
            <pc:sldMk cId="1758302113" sldId="264"/>
            <ac:spMk id="35" creationId="{E9867029-B77B-4684-82E0-3131F8403FA2}"/>
          </ac:spMkLst>
        </pc:spChg>
        <pc:spChg chg="del">
          <ac:chgData name="Alina D" userId="24a60029abdc116d" providerId="LiveId" clId="{B2B885B0-7DDD-40D5-9AC7-E0D47B22B6DA}" dt="2018-06-03T10:27:32.657" v="6284" actId="478"/>
          <ac:spMkLst>
            <pc:docMk/>
            <pc:sldMk cId="1758302113" sldId="264"/>
            <ac:spMk id="36" creationId="{512E69BB-3F19-4424-955D-1A9B41784C32}"/>
          </ac:spMkLst>
        </pc:spChg>
        <pc:spChg chg="del">
          <ac:chgData name="Alina D" userId="24a60029abdc116d" providerId="LiveId" clId="{B2B885B0-7DDD-40D5-9AC7-E0D47B22B6DA}" dt="2018-06-03T10:27:32.657" v="6285" actId="478"/>
          <ac:spMkLst>
            <pc:docMk/>
            <pc:sldMk cId="1758302113" sldId="264"/>
            <ac:spMk id="37" creationId="{D7D9356D-4F6B-428F-BE1D-104D9BA0B7E0}"/>
          </ac:spMkLst>
        </pc:spChg>
        <pc:spChg chg="del">
          <ac:chgData name="Alina D" userId="24a60029abdc116d" providerId="LiveId" clId="{B2B885B0-7DDD-40D5-9AC7-E0D47B22B6DA}" dt="2018-06-03T10:27:32.658" v="6286" actId="478"/>
          <ac:spMkLst>
            <pc:docMk/>
            <pc:sldMk cId="1758302113" sldId="264"/>
            <ac:spMk id="38" creationId="{6BA744FE-9068-4BCF-A865-C7049143C7BF}"/>
          </ac:spMkLst>
        </pc:spChg>
        <pc:spChg chg="del">
          <ac:chgData name="Alina D" userId="24a60029abdc116d" providerId="LiveId" clId="{B2B885B0-7DDD-40D5-9AC7-E0D47B22B6DA}" dt="2018-06-03T10:27:32.658" v="6287" actId="478"/>
          <ac:spMkLst>
            <pc:docMk/>
            <pc:sldMk cId="1758302113" sldId="264"/>
            <ac:spMk id="39" creationId="{C1E6AE0C-5F7C-4A87-9713-99426B42B6F5}"/>
          </ac:spMkLst>
        </pc:spChg>
        <pc:spChg chg="del">
          <ac:chgData name="Alina D" userId="24a60029abdc116d" providerId="LiveId" clId="{B2B885B0-7DDD-40D5-9AC7-E0D47B22B6DA}" dt="2018-06-03T10:27:32.659" v="6288" actId="478"/>
          <ac:spMkLst>
            <pc:docMk/>
            <pc:sldMk cId="1758302113" sldId="264"/>
            <ac:spMk id="40" creationId="{89256AF6-D780-488E-BBD4-57F8E8BF0797}"/>
          </ac:spMkLst>
        </pc:spChg>
        <pc:spChg chg="del">
          <ac:chgData name="Alina D" userId="24a60029abdc116d" providerId="LiveId" clId="{B2B885B0-7DDD-40D5-9AC7-E0D47B22B6DA}" dt="2018-06-03T10:27:32.659" v="6289" actId="478"/>
          <ac:spMkLst>
            <pc:docMk/>
            <pc:sldMk cId="1758302113" sldId="264"/>
            <ac:spMk id="41" creationId="{039C0D12-2FBE-4A51-A813-FA2B48D09C16}"/>
          </ac:spMkLst>
        </pc:spChg>
        <pc:spChg chg="del">
          <ac:chgData name="Alina D" userId="24a60029abdc116d" providerId="LiveId" clId="{B2B885B0-7DDD-40D5-9AC7-E0D47B22B6DA}" dt="2018-06-03T10:27:32.660" v="6290" actId="478"/>
          <ac:spMkLst>
            <pc:docMk/>
            <pc:sldMk cId="1758302113" sldId="264"/>
            <ac:spMk id="42" creationId="{FA2BE00F-4119-4181-BFCF-6D5C098AF4BA}"/>
          </ac:spMkLst>
        </pc:spChg>
        <pc:spChg chg="mod ord">
          <ac:chgData name="Alina D" userId="24a60029abdc116d" providerId="LiveId" clId="{B2B885B0-7DDD-40D5-9AC7-E0D47B22B6DA}" dt="2018-06-03T10:52:44.823" v="8989" actId="2696"/>
          <ac:spMkLst>
            <pc:docMk/>
            <pc:sldMk cId="1758302113" sldId="264"/>
            <ac:spMk id="43" creationId="{FFC6F940-EF17-4260-A059-ADA406C3786E}"/>
          </ac:spMkLst>
        </pc:spChg>
        <pc:spChg chg="mod ord">
          <ac:chgData name="Alina D" userId="24a60029abdc116d" providerId="LiveId" clId="{B2B885B0-7DDD-40D5-9AC7-E0D47B22B6DA}" dt="2018-06-03T10:52:44.824" v="8990" actId="2696"/>
          <ac:spMkLst>
            <pc:docMk/>
            <pc:sldMk cId="1758302113" sldId="264"/>
            <ac:spMk id="44" creationId="{3DB91849-8EB6-404E-A103-7277FBCCE1FE}"/>
          </ac:spMkLst>
        </pc:spChg>
        <pc:spChg chg="mod ord">
          <ac:chgData name="Alina D" userId="24a60029abdc116d" providerId="LiveId" clId="{B2B885B0-7DDD-40D5-9AC7-E0D47B22B6DA}" dt="2018-06-03T10:52:44.825" v="8993" actId="2696"/>
          <ac:spMkLst>
            <pc:docMk/>
            <pc:sldMk cId="1758302113" sldId="264"/>
            <ac:spMk id="47" creationId="{637914D8-9362-439B-B2AF-0494EEEAA720}"/>
          </ac:spMkLst>
        </pc:spChg>
        <pc:spChg chg="mod ord">
          <ac:chgData name="Alina D" userId="24a60029abdc116d" providerId="LiveId" clId="{B2B885B0-7DDD-40D5-9AC7-E0D47B22B6DA}" dt="2018-06-03T10:52:44.826" v="8994" actId="2696"/>
          <ac:spMkLst>
            <pc:docMk/>
            <pc:sldMk cId="1758302113" sldId="264"/>
            <ac:spMk id="48" creationId="{01823626-5274-4562-AFFA-87F217C01004}"/>
          </ac:spMkLst>
        </pc:spChg>
        <pc:spChg chg="mod ord">
          <ac:chgData name="Alina D" userId="24a60029abdc116d" providerId="LiveId" clId="{B2B885B0-7DDD-40D5-9AC7-E0D47B22B6DA}" dt="2018-06-03T10:52:44.826" v="8995" actId="2696"/>
          <ac:spMkLst>
            <pc:docMk/>
            <pc:sldMk cId="1758302113" sldId="264"/>
            <ac:spMk id="50" creationId="{1141048E-E79D-4268-8202-B797D21AD19F}"/>
          </ac:spMkLst>
        </pc:spChg>
        <pc:spChg chg="mod ord">
          <ac:chgData name="Alina D" userId="24a60029abdc116d" providerId="LiveId" clId="{B2B885B0-7DDD-40D5-9AC7-E0D47B22B6DA}" dt="2018-06-03T10:52:44.826" v="8996" actId="2696"/>
          <ac:spMkLst>
            <pc:docMk/>
            <pc:sldMk cId="1758302113" sldId="264"/>
            <ac:spMk id="51" creationId="{25792C7A-BB13-4A28-93B6-B0F5651E3023}"/>
          </ac:spMkLst>
        </pc:spChg>
        <pc:spChg chg="mod ord">
          <ac:chgData name="Alina D" userId="24a60029abdc116d" providerId="LiveId" clId="{B2B885B0-7DDD-40D5-9AC7-E0D47B22B6DA}" dt="2018-06-03T10:52:44.827" v="8997" actId="2696"/>
          <ac:spMkLst>
            <pc:docMk/>
            <pc:sldMk cId="1758302113" sldId="264"/>
            <ac:spMk id="52" creationId="{848C1BA0-3C9C-4D67-9FC7-569C5B0425EE}"/>
          </ac:spMkLst>
        </pc:spChg>
        <pc:spChg chg="mod ord">
          <ac:chgData name="Alina D" userId="24a60029abdc116d" providerId="LiveId" clId="{B2B885B0-7DDD-40D5-9AC7-E0D47B22B6DA}" dt="2018-06-03T10:52:44.827" v="8998" actId="2696"/>
          <ac:spMkLst>
            <pc:docMk/>
            <pc:sldMk cId="1758302113" sldId="264"/>
            <ac:spMk id="53" creationId="{6F2BA5EE-E55F-4602-8EF5-9DBA12354F68}"/>
          </ac:spMkLst>
        </pc:spChg>
        <pc:cxnChg chg="del mod ord">
          <ac:chgData name="Alina D" userId="24a60029abdc116d" providerId="LiveId" clId="{B2B885B0-7DDD-40D5-9AC7-E0D47B22B6DA}" dt="2018-06-03T10:52:27.948" v="7673" actId="478"/>
          <ac:cxnSpMkLst>
            <pc:docMk/>
            <pc:sldMk cId="1758302113" sldId="264"/>
            <ac:cxnSpMk id="6" creationId="{ED04F99B-3C80-4648-A4F9-343E3E115340}"/>
          </ac:cxnSpMkLst>
        </pc:cxnChg>
        <pc:cxnChg chg="del mod ord">
          <ac:chgData name="Alina D" userId="24a60029abdc116d" providerId="LiveId" clId="{B2B885B0-7DDD-40D5-9AC7-E0D47B22B6DA}" dt="2018-06-03T10:52:27.948" v="7674" actId="478"/>
          <ac:cxnSpMkLst>
            <pc:docMk/>
            <pc:sldMk cId="1758302113" sldId="264"/>
            <ac:cxnSpMk id="7" creationId="{DCEB3A03-42FC-4DD3-800B-0EB8CE4A8FE6}"/>
          </ac:cxnSpMkLst>
        </pc:cxnChg>
        <pc:cxnChg chg="del mod ord">
          <ac:chgData name="Alina D" userId="24a60029abdc116d" providerId="LiveId" clId="{B2B885B0-7DDD-40D5-9AC7-E0D47B22B6DA}" dt="2018-06-03T10:52:44.613" v="8747" actId="478"/>
          <ac:cxnSpMkLst>
            <pc:docMk/>
            <pc:sldMk cId="1758302113" sldId="264"/>
            <ac:cxnSpMk id="20" creationId="{84177DA8-B240-4618-B337-8C13EE6D0BD0}"/>
          </ac:cxnSpMkLst>
        </pc:cxnChg>
        <pc:cxnChg chg="del mod ord">
          <ac:chgData name="Alina D" userId="24a60029abdc116d" providerId="LiveId" clId="{B2B885B0-7DDD-40D5-9AC7-E0D47B22B6DA}" dt="2018-06-03T10:52:44.614" v="8748" actId="478"/>
          <ac:cxnSpMkLst>
            <pc:docMk/>
            <pc:sldMk cId="1758302113" sldId="264"/>
            <ac:cxnSpMk id="21" creationId="{B56A1E46-CB69-4E8D-AA9B-A73A9BC2AEB7}"/>
          </ac:cxnSpMkLst>
        </pc:cxnChg>
        <pc:cxnChg chg="del">
          <ac:chgData name="Alina D" userId="24a60029abdc116d" providerId="LiveId" clId="{B2B885B0-7DDD-40D5-9AC7-E0D47B22B6DA}" dt="2018-06-03T10:27:32.655" v="6281" actId="478"/>
          <ac:cxnSpMkLst>
            <pc:docMk/>
            <pc:sldMk cId="1758302113" sldId="264"/>
            <ac:cxnSpMk id="33" creationId="{E4E632B9-3512-43B0-B47B-A69D53C684E0}"/>
          </ac:cxnSpMkLst>
        </pc:cxnChg>
        <pc:cxnChg chg="del">
          <ac:chgData name="Alina D" userId="24a60029abdc116d" providerId="LiveId" clId="{B2B885B0-7DDD-40D5-9AC7-E0D47B22B6DA}" dt="2018-06-03T10:27:32.655" v="6282" actId="478"/>
          <ac:cxnSpMkLst>
            <pc:docMk/>
            <pc:sldMk cId="1758302113" sldId="264"/>
            <ac:cxnSpMk id="34" creationId="{B87876E0-5FEA-407D-8EA6-4BD5E7BD2290}"/>
          </ac:cxnSpMkLst>
        </pc:cxnChg>
        <pc:cxnChg chg="mod ord">
          <ac:chgData name="Alina D" userId="24a60029abdc116d" providerId="LiveId" clId="{B2B885B0-7DDD-40D5-9AC7-E0D47B22B6DA}" dt="2018-06-03T10:52:44.824" v="8991" actId="2696"/>
          <ac:cxnSpMkLst>
            <pc:docMk/>
            <pc:sldMk cId="1758302113" sldId="264"/>
            <ac:cxnSpMk id="45" creationId="{2DEAE581-F777-4425-9E47-3B9056ED7398}"/>
          </ac:cxnSpMkLst>
        </pc:cxnChg>
        <pc:cxnChg chg="mod ord">
          <ac:chgData name="Alina D" userId="24a60029abdc116d" providerId="LiveId" clId="{B2B885B0-7DDD-40D5-9AC7-E0D47B22B6DA}" dt="2018-06-03T10:52:44.824" v="8992" actId="2696"/>
          <ac:cxnSpMkLst>
            <pc:docMk/>
            <pc:sldMk cId="1758302113" sldId="264"/>
            <ac:cxnSpMk id="46" creationId="{1CFF4D78-B38C-42BC-9D0E-C3FDE3D6AB76}"/>
          </ac:cxnSpMkLst>
        </pc:cxnChg>
      </pc:sldChg>
      <pc:sldChg chg="addSp delSp modSp">
        <pc:chgData name="Alina D" userId="24a60029abdc116d" providerId="LiveId" clId="{B2B885B0-7DDD-40D5-9AC7-E0D47B22B6DA}" dt="2018-06-03T10:52:44.936" v="9111" actId="2696"/>
        <pc:sldMkLst>
          <pc:docMk/>
          <pc:sldMk cId="2044485203" sldId="266"/>
        </pc:sldMkLst>
        <pc:spChg chg="add del mod ord">
          <ac:chgData name="Alina D" userId="24a60029abdc116d" providerId="LiveId" clId="{B2B885B0-7DDD-40D5-9AC7-E0D47B22B6DA}" dt="2018-06-03T10:52:27.954" v="7683" actId="478"/>
          <ac:spMkLst>
            <pc:docMk/>
            <pc:sldMk cId="2044485203" sldId="266"/>
            <ac:spMk id="3" creationId="{A42C1059-0B34-4F1B-81C6-3683AA749AC6}"/>
          </ac:spMkLst>
        </pc:spChg>
        <pc:spChg chg="del mod ord">
          <ac:chgData name="Alina D" userId="24a60029abdc116d" providerId="LiveId" clId="{B2B885B0-7DDD-40D5-9AC7-E0D47B22B6DA}" dt="2018-06-03T10:52:27.958" v="7684" actId="478"/>
          <ac:spMkLst>
            <pc:docMk/>
            <pc:sldMk cId="2044485203" sldId="266"/>
            <ac:spMk id="4" creationId="{D984BDA3-78C9-42FC-9F68-FC5AE89E21A2}"/>
          </ac:spMkLst>
        </pc:spChg>
        <pc:spChg chg="del mod ord">
          <ac:chgData name="Alina D" userId="24a60029abdc116d" providerId="LiveId" clId="{B2B885B0-7DDD-40D5-9AC7-E0D47B22B6DA}" dt="2018-06-03T10:52:27.958" v="7685" actId="478"/>
          <ac:spMkLst>
            <pc:docMk/>
            <pc:sldMk cId="2044485203" sldId="266"/>
            <ac:spMk id="5" creationId="{9D690E01-9B0C-4A54-8C43-EBDB71127834}"/>
          </ac:spMkLst>
        </pc:spChg>
        <pc:spChg chg="del mod ord">
          <ac:chgData name="Alina D" userId="24a60029abdc116d" providerId="LiveId" clId="{B2B885B0-7DDD-40D5-9AC7-E0D47B22B6DA}" dt="2018-06-03T10:52:27.959" v="7686" actId="478"/>
          <ac:spMkLst>
            <pc:docMk/>
            <pc:sldMk cId="2044485203" sldId="266"/>
            <ac:spMk id="6" creationId="{CB76D188-7F5C-4DBF-9553-ECEBF887C4D5}"/>
          </ac:spMkLst>
        </pc:spChg>
        <pc:spChg chg="del mod ord">
          <ac:chgData name="Alina D" userId="24a60029abdc116d" providerId="LiveId" clId="{B2B885B0-7DDD-40D5-9AC7-E0D47B22B6DA}" dt="2018-06-03T10:52:27.960" v="7687" actId="478"/>
          <ac:spMkLst>
            <pc:docMk/>
            <pc:sldMk cId="2044485203" sldId="266"/>
            <ac:spMk id="7" creationId="{5B8DBD76-E15E-41AE-8C01-D91EB916A3FB}"/>
          </ac:spMkLst>
        </pc:spChg>
        <pc:spChg chg="del mod ord">
          <ac:chgData name="Alina D" userId="24a60029abdc116d" providerId="LiveId" clId="{B2B885B0-7DDD-40D5-9AC7-E0D47B22B6DA}" dt="2018-06-03T10:52:27.962" v="7690" actId="478"/>
          <ac:spMkLst>
            <pc:docMk/>
            <pc:sldMk cId="2044485203" sldId="266"/>
            <ac:spMk id="10" creationId="{453FC5B8-1A90-41F0-AEED-4A4FA6FC6414}"/>
          </ac:spMkLst>
        </pc:spChg>
        <pc:spChg chg="del mod ord">
          <ac:chgData name="Alina D" userId="24a60029abdc116d" providerId="LiveId" clId="{B2B885B0-7DDD-40D5-9AC7-E0D47B22B6DA}" dt="2018-06-03T10:52:27.963" v="7691" actId="478"/>
          <ac:spMkLst>
            <pc:docMk/>
            <pc:sldMk cId="2044485203" sldId="266"/>
            <ac:spMk id="11" creationId="{FD5F0B40-C7A6-4D8F-B13B-1A8C8342C8EF}"/>
          </ac:spMkLst>
        </pc:spChg>
        <pc:spChg chg="del mod ord">
          <ac:chgData name="Alina D" userId="24a60029abdc116d" providerId="LiveId" clId="{B2B885B0-7DDD-40D5-9AC7-E0D47B22B6DA}" dt="2018-06-03T10:52:27.963" v="7692" actId="478"/>
          <ac:spMkLst>
            <pc:docMk/>
            <pc:sldMk cId="2044485203" sldId="266"/>
            <ac:spMk id="12" creationId="{C15A11EE-E82A-4F35-ACD0-16817295E9D0}"/>
          </ac:spMkLst>
        </pc:spChg>
        <pc:spChg chg="del mod ord">
          <ac:chgData name="Alina D" userId="24a60029abdc116d" providerId="LiveId" clId="{B2B885B0-7DDD-40D5-9AC7-E0D47B22B6DA}" dt="2018-06-03T10:52:27.963" v="7693" actId="478"/>
          <ac:spMkLst>
            <pc:docMk/>
            <pc:sldMk cId="2044485203" sldId="266"/>
            <ac:spMk id="13" creationId="{E2A1936D-C53F-42D2-9971-1FC3B8257497}"/>
          </ac:spMkLst>
        </pc:spChg>
        <pc:spChg chg="del mod ord">
          <ac:chgData name="Alina D" userId="24a60029abdc116d" providerId="LiveId" clId="{B2B885B0-7DDD-40D5-9AC7-E0D47B22B6DA}" dt="2018-06-03T10:52:27.963" v="7694" actId="478"/>
          <ac:spMkLst>
            <pc:docMk/>
            <pc:sldMk cId="2044485203" sldId="266"/>
            <ac:spMk id="14" creationId="{33865664-CBB3-4F85-A28E-09EBF82D8EF8}"/>
          </ac:spMkLst>
        </pc:spChg>
        <pc:spChg chg="del mod ord">
          <ac:chgData name="Alina D" userId="24a60029abdc116d" providerId="LiveId" clId="{B2B885B0-7DDD-40D5-9AC7-E0D47B22B6DA}" dt="2018-06-03T10:52:27.964" v="7695" actId="478"/>
          <ac:spMkLst>
            <pc:docMk/>
            <pc:sldMk cId="2044485203" sldId="266"/>
            <ac:spMk id="15" creationId="{2441EDA0-89C5-4A66-8D91-FBD94B38581B}"/>
          </ac:spMkLst>
        </pc:spChg>
        <pc:spChg chg="add del mod ord">
          <ac:chgData name="Alina D" userId="24a60029abdc116d" providerId="LiveId" clId="{B2B885B0-7DDD-40D5-9AC7-E0D47B22B6DA}" dt="2018-06-03T10:52:44.618" v="8755" actId="478"/>
          <ac:spMkLst>
            <pc:docMk/>
            <pc:sldMk cId="2044485203" sldId="266"/>
            <ac:spMk id="17" creationId="{71D7BFB8-9444-44F2-AC7D-75D4CED26319}"/>
          </ac:spMkLst>
        </pc:spChg>
        <pc:spChg chg="del mod ord">
          <ac:chgData name="Alina D" userId="24a60029abdc116d" providerId="LiveId" clId="{B2B885B0-7DDD-40D5-9AC7-E0D47B22B6DA}" dt="2018-06-03T10:52:44.621" v="8756" actId="478"/>
          <ac:spMkLst>
            <pc:docMk/>
            <pc:sldMk cId="2044485203" sldId="266"/>
            <ac:spMk id="18" creationId="{1F82CABF-957C-44C0-9022-A3FAF243526A}"/>
          </ac:spMkLst>
        </pc:spChg>
        <pc:spChg chg="del mod ord">
          <ac:chgData name="Alina D" userId="24a60029abdc116d" providerId="LiveId" clId="{B2B885B0-7DDD-40D5-9AC7-E0D47B22B6DA}" dt="2018-06-03T10:52:44.621" v="8757" actId="478"/>
          <ac:spMkLst>
            <pc:docMk/>
            <pc:sldMk cId="2044485203" sldId="266"/>
            <ac:spMk id="19" creationId="{2ECF02D6-1AEF-4D00-AE88-AA9E5F63BD73}"/>
          </ac:spMkLst>
        </pc:spChg>
        <pc:spChg chg="del mod ord">
          <ac:chgData name="Alina D" userId="24a60029abdc116d" providerId="LiveId" clId="{B2B885B0-7DDD-40D5-9AC7-E0D47B22B6DA}" dt="2018-06-03T10:52:44.622" v="8758" actId="478"/>
          <ac:spMkLst>
            <pc:docMk/>
            <pc:sldMk cId="2044485203" sldId="266"/>
            <ac:spMk id="20" creationId="{F35D56A5-4F56-4EBE-8E0C-1197BE440861}"/>
          </ac:spMkLst>
        </pc:spChg>
        <pc:spChg chg="del mod ord">
          <ac:chgData name="Alina D" userId="24a60029abdc116d" providerId="LiveId" clId="{B2B885B0-7DDD-40D5-9AC7-E0D47B22B6DA}" dt="2018-06-03T10:52:44.622" v="8759" actId="478"/>
          <ac:spMkLst>
            <pc:docMk/>
            <pc:sldMk cId="2044485203" sldId="266"/>
            <ac:spMk id="21" creationId="{9FC28053-DFE4-452E-8AB8-C1ABF4F43F4D}"/>
          </ac:spMkLst>
        </pc:spChg>
        <pc:spChg chg="del mod ord">
          <ac:chgData name="Alina D" userId="24a60029abdc116d" providerId="LiveId" clId="{B2B885B0-7DDD-40D5-9AC7-E0D47B22B6DA}" dt="2018-06-03T10:52:44.623" v="8762" actId="478"/>
          <ac:spMkLst>
            <pc:docMk/>
            <pc:sldMk cId="2044485203" sldId="266"/>
            <ac:spMk id="24" creationId="{ACA52E6A-53AD-4B50-B08B-A288400B2963}"/>
          </ac:spMkLst>
        </pc:spChg>
        <pc:spChg chg="del mod ord">
          <ac:chgData name="Alina D" userId="24a60029abdc116d" providerId="LiveId" clId="{B2B885B0-7DDD-40D5-9AC7-E0D47B22B6DA}" dt="2018-06-03T10:52:44.623" v="8763" actId="478"/>
          <ac:spMkLst>
            <pc:docMk/>
            <pc:sldMk cId="2044485203" sldId="266"/>
            <ac:spMk id="25" creationId="{B8DCC933-2340-4433-A58B-2F62CB304C08}"/>
          </ac:spMkLst>
        </pc:spChg>
        <pc:spChg chg="del mod ord">
          <ac:chgData name="Alina D" userId="24a60029abdc116d" providerId="LiveId" clId="{B2B885B0-7DDD-40D5-9AC7-E0D47B22B6DA}" dt="2018-06-03T10:52:44.623" v="8764" actId="478"/>
          <ac:spMkLst>
            <pc:docMk/>
            <pc:sldMk cId="2044485203" sldId="266"/>
            <ac:spMk id="26" creationId="{064B4625-95E1-4667-B551-B4DE3F37045C}"/>
          </ac:spMkLst>
        </pc:spChg>
        <pc:spChg chg="del mod ord">
          <ac:chgData name="Alina D" userId="24a60029abdc116d" providerId="LiveId" clId="{B2B885B0-7DDD-40D5-9AC7-E0D47B22B6DA}" dt="2018-06-03T10:52:44.625" v="8765" actId="478"/>
          <ac:spMkLst>
            <pc:docMk/>
            <pc:sldMk cId="2044485203" sldId="266"/>
            <ac:spMk id="27" creationId="{12979F70-7E06-48CA-9538-9587CE329415}"/>
          </ac:spMkLst>
        </pc:spChg>
        <pc:spChg chg="add mod ord">
          <ac:chgData name="Alina D" userId="24a60029abdc116d" providerId="LiveId" clId="{B2B885B0-7DDD-40D5-9AC7-E0D47B22B6DA}" dt="2018-06-03T10:52:44.932" v="9101" actId="2696"/>
          <ac:spMkLst>
            <pc:docMk/>
            <pc:sldMk cId="2044485203" sldId="266"/>
            <ac:spMk id="29" creationId="{0E66FD05-438C-4B26-AC1B-90A30AF638D9}"/>
          </ac:spMkLst>
        </pc:spChg>
        <pc:spChg chg="mod ord">
          <ac:chgData name="Alina D" userId="24a60029abdc116d" providerId="LiveId" clId="{B2B885B0-7DDD-40D5-9AC7-E0D47B22B6DA}" dt="2018-06-03T10:52:44.932" v="9102" actId="2696"/>
          <ac:spMkLst>
            <pc:docMk/>
            <pc:sldMk cId="2044485203" sldId="266"/>
            <ac:spMk id="30" creationId="{12E9798D-C2E5-469F-B835-603304FDF638}"/>
          </ac:spMkLst>
        </pc:spChg>
        <pc:spChg chg="mod ord">
          <ac:chgData name="Alina D" userId="24a60029abdc116d" providerId="LiveId" clId="{B2B885B0-7DDD-40D5-9AC7-E0D47B22B6DA}" dt="2018-06-03T10:52:44.933" v="9103" actId="2696"/>
          <ac:spMkLst>
            <pc:docMk/>
            <pc:sldMk cId="2044485203" sldId="266"/>
            <ac:spMk id="31" creationId="{BD6E785B-F5E9-4464-8150-1E8E32FEFB1B}"/>
          </ac:spMkLst>
        </pc:spChg>
        <pc:spChg chg="mod ord">
          <ac:chgData name="Alina D" userId="24a60029abdc116d" providerId="LiveId" clId="{B2B885B0-7DDD-40D5-9AC7-E0D47B22B6DA}" dt="2018-06-03T10:52:44.933" v="9104" actId="2696"/>
          <ac:spMkLst>
            <pc:docMk/>
            <pc:sldMk cId="2044485203" sldId="266"/>
            <ac:spMk id="64" creationId="{6286420B-35A8-4ACD-8EB4-086C76566D28}"/>
          </ac:spMkLst>
        </pc:spChg>
        <pc:spChg chg="mod ord">
          <ac:chgData name="Alina D" userId="24a60029abdc116d" providerId="LiveId" clId="{B2B885B0-7DDD-40D5-9AC7-E0D47B22B6DA}" dt="2018-06-03T10:52:44.933" v="9105" actId="2696"/>
          <ac:spMkLst>
            <pc:docMk/>
            <pc:sldMk cId="2044485203" sldId="266"/>
            <ac:spMk id="65" creationId="{22F5D578-F10D-466D-972B-2BE24D8F37EC}"/>
          </ac:spMkLst>
        </pc:spChg>
        <pc:spChg chg="mod ord">
          <ac:chgData name="Alina D" userId="24a60029abdc116d" providerId="LiveId" clId="{B2B885B0-7DDD-40D5-9AC7-E0D47B22B6DA}" dt="2018-06-03T10:52:44.935" v="9108" actId="2696"/>
          <ac:spMkLst>
            <pc:docMk/>
            <pc:sldMk cId="2044485203" sldId="266"/>
            <ac:spMk id="69" creationId="{53084606-BD14-4DF1-9A77-FB8F99F1BADC}"/>
          </ac:spMkLst>
        </pc:spChg>
        <pc:spChg chg="mod ord">
          <ac:chgData name="Alina D" userId="24a60029abdc116d" providerId="LiveId" clId="{B2B885B0-7DDD-40D5-9AC7-E0D47B22B6DA}" dt="2018-06-03T10:52:44.935" v="9109" actId="2696"/>
          <ac:spMkLst>
            <pc:docMk/>
            <pc:sldMk cId="2044485203" sldId="266"/>
            <ac:spMk id="70" creationId="{C0FF4C4C-A356-41E3-9C7C-D94C336CD875}"/>
          </ac:spMkLst>
        </pc:spChg>
        <pc:spChg chg="mod ord">
          <ac:chgData name="Alina D" userId="24a60029abdc116d" providerId="LiveId" clId="{B2B885B0-7DDD-40D5-9AC7-E0D47B22B6DA}" dt="2018-06-03T10:52:44.936" v="9110" actId="2696"/>
          <ac:spMkLst>
            <pc:docMk/>
            <pc:sldMk cId="2044485203" sldId="266"/>
            <ac:spMk id="71" creationId="{E32BDE84-D59C-4C6C-8E25-F0EE2784ABE7}"/>
          </ac:spMkLst>
        </pc:spChg>
        <pc:spChg chg="mod ord">
          <ac:chgData name="Alina D" userId="24a60029abdc116d" providerId="LiveId" clId="{B2B885B0-7DDD-40D5-9AC7-E0D47B22B6DA}" dt="2018-06-03T10:52:44.936" v="9111" actId="2696"/>
          <ac:spMkLst>
            <pc:docMk/>
            <pc:sldMk cId="2044485203" sldId="266"/>
            <ac:spMk id="72" creationId="{3DD35FBC-967B-4A2B-B8E8-B7A5D4B707CB}"/>
          </ac:spMkLst>
        </pc:spChg>
        <pc:spChg chg="del">
          <ac:chgData name="Alina D" userId="24a60029abdc116d" providerId="LiveId" clId="{B2B885B0-7DDD-40D5-9AC7-E0D47B22B6DA}" dt="2018-06-03T10:27:32.661" v="6291" actId="478"/>
          <ac:spMkLst>
            <pc:docMk/>
            <pc:sldMk cId="2044485203" sldId="266"/>
            <ac:spMk id="77" creationId="{4011DCD0-7DD0-45EC-AB52-6F422CEE259B}"/>
          </ac:spMkLst>
        </pc:spChg>
        <pc:spChg chg="del">
          <ac:chgData name="Alina D" userId="24a60029abdc116d" providerId="LiveId" clId="{B2B885B0-7DDD-40D5-9AC7-E0D47B22B6DA}" dt="2018-06-03T10:27:32.665" v="6292" actId="478"/>
          <ac:spMkLst>
            <pc:docMk/>
            <pc:sldMk cId="2044485203" sldId="266"/>
            <ac:spMk id="78" creationId="{CC38F7D5-0C7C-47ED-BB7A-E7A35AFFDBCD}"/>
          </ac:spMkLst>
        </pc:spChg>
        <pc:spChg chg="del">
          <ac:chgData name="Alina D" userId="24a60029abdc116d" providerId="LiveId" clId="{B2B885B0-7DDD-40D5-9AC7-E0D47B22B6DA}" dt="2018-06-03T10:27:32.666" v="6293" actId="478"/>
          <ac:spMkLst>
            <pc:docMk/>
            <pc:sldMk cId="2044485203" sldId="266"/>
            <ac:spMk id="79" creationId="{6A62A94A-AF54-4C98-B57D-3EFC05066F2B}"/>
          </ac:spMkLst>
        </pc:spChg>
        <pc:spChg chg="del">
          <ac:chgData name="Alina D" userId="24a60029abdc116d" providerId="LiveId" clId="{B2B885B0-7DDD-40D5-9AC7-E0D47B22B6DA}" dt="2018-06-03T10:27:32.666" v="6294" actId="478"/>
          <ac:spMkLst>
            <pc:docMk/>
            <pc:sldMk cId="2044485203" sldId="266"/>
            <ac:spMk id="80" creationId="{03DBA405-6134-4852-B00C-B1D1ED5C1B72}"/>
          </ac:spMkLst>
        </pc:spChg>
        <pc:spChg chg="del">
          <ac:chgData name="Alina D" userId="24a60029abdc116d" providerId="LiveId" clId="{B2B885B0-7DDD-40D5-9AC7-E0D47B22B6DA}" dt="2018-06-03T10:27:32.667" v="6295" actId="478"/>
          <ac:spMkLst>
            <pc:docMk/>
            <pc:sldMk cId="2044485203" sldId="266"/>
            <ac:spMk id="81" creationId="{E90806DE-4622-4558-8447-0AE0285994EA}"/>
          </ac:spMkLst>
        </pc:spChg>
        <pc:spChg chg="del">
          <ac:chgData name="Alina D" userId="24a60029abdc116d" providerId="LiveId" clId="{B2B885B0-7DDD-40D5-9AC7-E0D47B22B6DA}" dt="2018-06-03T10:27:32.669" v="6298" actId="478"/>
          <ac:spMkLst>
            <pc:docMk/>
            <pc:sldMk cId="2044485203" sldId="266"/>
            <ac:spMk id="84" creationId="{7D35953F-9732-408E-996B-FA20B2D4913E}"/>
          </ac:spMkLst>
        </pc:spChg>
        <pc:spChg chg="del">
          <ac:chgData name="Alina D" userId="24a60029abdc116d" providerId="LiveId" clId="{B2B885B0-7DDD-40D5-9AC7-E0D47B22B6DA}" dt="2018-06-03T10:27:32.670" v="6299" actId="478"/>
          <ac:spMkLst>
            <pc:docMk/>
            <pc:sldMk cId="2044485203" sldId="266"/>
            <ac:spMk id="85" creationId="{5076A649-D622-47D3-8A03-D0B1EB067691}"/>
          </ac:spMkLst>
        </pc:spChg>
        <pc:spChg chg="del">
          <ac:chgData name="Alina D" userId="24a60029abdc116d" providerId="LiveId" clId="{B2B885B0-7DDD-40D5-9AC7-E0D47B22B6DA}" dt="2018-06-03T10:27:32.671" v="6300" actId="478"/>
          <ac:spMkLst>
            <pc:docMk/>
            <pc:sldMk cId="2044485203" sldId="266"/>
            <ac:spMk id="86" creationId="{F7B2D6F3-1A07-4B5F-8738-ACCCC7E35748}"/>
          </ac:spMkLst>
        </pc:spChg>
        <pc:spChg chg="del">
          <ac:chgData name="Alina D" userId="24a60029abdc116d" providerId="LiveId" clId="{B2B885B0-7DDD-40D5-9AC7-E0D47B22B6DA}" dt="2018-06-03T10:27:32.671" v="6301" actId="478"/>
          <ac:spMkLst>
            <pc:docMk/>
            <pc:sldMk cId="2044485203" sldId="266"/>
            <ac:spMk id="87" creationId="{D1B44241-7DEB-4C66-9DBA-FF6F6DCFF8AF}"/>
          </ac:spMkLst>
        </pc:spChg>
        <pc:spChg chg="del">
          <ac:chgData name="Alina D" userId="24a60029abdc116d" providerId="LiveId" clId="{B2B885B0-7DDD-40D5-9AC7-E0D47B22B6DA}" dt="2018-06-03T10:27:32.672" v="6302" actId="478"/>
          <ac:spMkLst>
            <pc:docMk/>
            <pc:sldMk cId="2044485203" sldId="266"/>
            <ac:spMk id="88" creationId="{A8CD5E1E-F338-4555-A8AC-07E3A59E3377}"/>
          </ac:spMkLst>
        </pc:spChg>
        <pc:spChg chg="del">
          <ac:chgData name="Alina D" userId="24a60029abdc116d" providerId="LiveId" clId="{B2B885B0-7DDD-40D5-9AC7-E0D47B22B6DA}" dt="2018-06-03T10:27:32.673" v="6303" actId="478"/>
          <ac:spMkLst>
            <pc:docMk/>
            <pc:sldMk cId="2044485203" sldId="266"/>
            <ac:spMk id="89" creationId="{0C5939AD-D080-4446-B10A-70D6AEEF0AE3}"/>
          </ac:spMkLst>
        </pc:spChg>
        <pc:cxnChg chg="del mod ord">
          <ac:chgData name="Alina D" userId="24a60029abdc116d" providerId="LiveId" clId="{B2B885B0-7DDD-40D5-9AC7-E0D47B22B6DA}" dt="2018-06-03T10:52:27.961" v="7688" actId="478"/>
          <ac:cxnSpMkLst>
            <pc:docMk/>
            <pc:sldMk cId="2044485203" sldId="266"/>
            <ac:cxnSpMk id="8" creationId="{D3E3562E-7D06-46CD-8726-9C1C06CB5480}"/>
          </ac:cxnSpMkLst>
        </pc:cxnChg>
        <pc:cxnChg chg="del mod ord">
          <ac:chgData name="Alina D" userId="24a60029abdc116d" providerId="LiveId" clId="{B2B885B0-7DDD-40D5-9AC7-E0D47B22B6DA}" dt="2018-06-03T10:52:27.962" v="7689" actId="478"/>
          <ac:cxnSpMkLst>
            <pc:docMk/>
            <pc:sldMk cId="2044485203" sldId="266"/>
            <ac:cxnSpMk id="9" creationId="{C38EEEEC-AF65-473E-8B46-1BBA93BB1850}"/>
          </ac:cxnSpMkLst>
        </pc:cxnChg>
        <pc:cxnChg chg="del mod ord">
          <ac:chgData name="Alina D" userId="24a60029abdc116d" providerId="LiveId" clId="{B2B885B0-7DDD-40D5-9AC7-E0D47B22B6DA}" dt="2018-06-03T10:52:44.622" v="8760" actId="478"/>
          <ac:cxnSpMkLst>
            <pc:docMk/>
            <pc:sldMk cId="2044485203" sldId="266"/>
            <ac:cxnSpMk id="22" creationId="{AB2E8345-9514-4DAF-A9E7-F95B5BD04182}"/>
          </ac:cxnSpMkLst>
        </pc:cxnChg>
        <pc:cxnChg chg="del mod ord">
          <ac:chgData name="Alina D" userId="24a60029abdc116d" providerId="LiveId" clId="{B2B885B0-7DDD-40D5-9AC7-E0D47B22B6DA}" dt="2018-06-03T10:52:44.622" v="8761" actId="478"/>
          <ac:cxnSpMkLst>
            <pc:docMk/>
            <pc:sldMk cId="2044485203" sldId="266"/>
            <ac:cxnSpMk id="23" creationId="{6BE1E800-ECCE-445B-ACF0-42EBFB644C41}"/>
          </ac:cxnSpMkLst>
        </pc:cxnChg>
        <pc:cxnChg chg="mod ord">
          <ac:chgData name="Alina D" userId="24a60029abdc116d" providerId="LiveId" clId="{B2B885B0-7DDD-40D5-9AC7-E0D47B22B6DA}" dt="2018-06-03T10:52:44.933" v="9106" actId="2696"/>
          <ac:cxnSpMkLst>
            <pc:docMk/>
            <pc:sldMk cId="2044485203" sldId="266"/>
            <ac:cxnSpMk id="66" creationId="{76B6912C-46EF-48D2-856A-DB9E039A1BBE}"/>
          </ac:cxnSpMkLst>
        </pc:cxnChg>
        <pc:cxnChg chg="mod ord">
          <ac:chgData name="Alina D" userId="24a60029abdc116d" providerId="LiveId" clId="{B2B885B0-7DDD-40D5-9AC7-E0D47B22B6DA}" dt="2018-06-03T10:52:44.935" v="9107" actId="2696"/>
          <ac:cxnSpMkLst>
            <pc:docMk/>
            <pc:sldMk cId="2044485203" sldId="266"/>
            <ac:cxnSpMk id="68" creationId="{708C0582-5858-4991-B901-CA9FFD6F6B9E}"/>
          </ac:cxnSpMkLst>
        </pc:cxnChg>
        <pc:cxnChg chg="del">
          <ac:chgData name="Alina D" userId="24a60029abdc116d" providerId="LiveId" clId="{B2B885B0-7DDD-40D5-9AC7-E0D47B22B6DA}" dt="2018-06-03T10:27:32.668" v="6296" actId="478"/>
          <ac:cxnSpMkLst>
            <pc:docMk/>
            <pc:sldMk cId="2044485203" sldId="266"/>
            <ac:cxnSpMk id="82" creationId="{E84DFC61-B57A-4DB9-ACBC-34974DC4A885}"/>
          </ac:cxnSpMkLst>
        </pc:cxnChg>
        <pc:cxnChg chg="del">
          <ac:chgData name="Alina D" userId="24a60029abdc116d" providerId="LiveId" clId="{B2B885B0-7DDD-40D5-9AC7-E0D47B22B6DA}" dt="2018-06-03T10:27:32.668" v="6297" actId="478"/>
          <ac:cxnSpMkLst>
            <pc:docMk/>
            <pc:sldMk cId="2044485203" sldId="266"/>
            <ac:cxnSpMk id="83" creationId="{1C612D65-7A4C-4BC0-B86C-C92124AFB153}"/>
          </ac:cxnSpMkLst>
        </pc:cxnChg>
      </pc:sldChg>
      <pc:sldChg chg="addSp delSp modSp del modNotesTx">
        <pc:chgData name="Alina D" userId="24a60029abdc116d" providerId="LiveId" clId="{B2B885B0-7DDD-40D5-9AC7-E0D47B22B6DA}" dt="2018-06-03T10:52:27.311" v="7191" actId="2696"/>
        <pc:sldMkLst>
          <pc:docMk/>
          <pc:sldMk cId="1067834808" sldId="270"/>
        </pc:sldMkLst>
        <pc:spChg chg="add mod ord">
          <ac:chgData name="Alina D" userId="24a60029abdc116d" providerId="LiveId" clId="{B2B885B0-7DDD-40D5-9AC7-E0D47B22B6DA}" dt="2018-06-03T10:27:33.276" v="6863" actId="2696"/>
          <ac:spMkLst>
            <pc:docMk/>
            <pc:sldMk cId="1067834808" sldId="270"/>
            <ac:spMk id="3" creationId="{5125A0FE-7B09-499D-B302-9479C68127DE}"/>
          </ac:spMkLst>
        </pc:spChg>
        <pc:spChg chg="mod ord">
          <ac:chgData name="Alina D" userId="24a60029abdc116d" providerId="LiveId" clId="{B2B885B0-7DDD-40D5-9AC7-E0D47B22B6DA}" dt="2018-06-03T10:27:33.276" v="6864" actId="2696"/>
          <ac:spMkLst>
            <pc:docMk/>
            <pc:sldMk cId="1067834808" sldId="270"/>
            <ac:spMk id="4" creationId="{2F69377E-F266-40BE-8F59-EF9FF93D5389}"/>
          </ac:spMkLst>
        </pc:spChg>
        <pc:spChg chg="mod ord">
          <ac:chgData name="Alina D" userId="24a60029abdc116d" providerId="LiveId" clId="{B2B885B0-7DDD-40D5-9AC7-E0D47B22B6DA}" dt="2018-06-03T10:27:33.278" v="6865" actId="2696"/>
          <ac:spMkLst>
            <pc:docMk/>
            <pc:sldMk cId="1067834808" sldId="270"/>
            <ac:spMk id="5" creationId="{B5527E68-ECAE-45DB-A797-4C05CDDB459D}"/>
          </ac:spMkLst>
        </pc:spChg>
        <pc:spChg chg="mod ord">
          <ac:chgData name="Alina D" userId="24a60029abdc116d" providerId="LiveId" clId="{B2B885B0-7DDD-40D5-9AC7-E0D47B22B6DA}" dt="2018-06-03T10:27:33.278" v="6866" actId="2696"/>
          <ac:spMkLst>
            <pc:docMk/>
            <pc:sldMk cId="1067834808" sldId="270"/>
            <ac:spMk id="6" creationId="{71D7694F-7324-4EC0-B9B9-A79477776C09}"/>
          </ac:spMkLst>
        </pc:spChg>
        <pc:spChg chg="mod ord">
          <ac:chgData name="Alina D" userId="24a60029abdc116d" providerId="LiveId" clId="{B2B885B0-7DDD-40D5-9AC7-E0D47B22B6DA}" dt="2018-06-03T10:27:33.279" v="6867" actId="2696"/>
          <ac:spMkLst>
            <pc:docMk/>
            <pc:sldMk cId="1067834808" sldId="270"/>
            <ac:spMk id="7" creationId="{19607C6A-87D9-4249-A8DE-496BFF8557A8}"/>
          </ac:spMkLst>
        </pc:spChg>
        <pc:spChg chg="mod ord">
          <ac:chgData name="Alina D" userId="24a60029abdc116d" providerId="LiveId" clId="{B2B885B0-7DDD-40D5-9AC7-E0D47B22B6DA}" dt="2018-06-03T10:27:33.279" v="6868" actId="2696"/>
          <ac:spMkLst>
            <pc:docMk/>
            <pc:sldMk cId="1067834808" sldId="270"/>
            <ac:spMk id="8" creationId="{96DE5935-950A-4ACB-B648-53999A3F18CC}"/>
          </ac:spMkLst>
        </pc:spChg>
        <pc:spChg chg="mod ord">
          <ac:chgData name="Alina D" userId="24a60029abdc116d" providerId="LiveId" clId="{B2B885B0-7DDD-40D5-9AC7-E0D47B22B6DA}" dt="2018-06-03T10:27:33.279" v="6869" actId="2696"/>
          <ac:spMkLst>
            <pc:docMk/>
            <pc:sldMk cId="1067834808" sldId="270"/>
            <ac:spMk id="9" creationId="{71A5A3B1-9D66-453E-9261-F76B82383992}"/>
          </ac:spMkLst>
        </pc:spChg>
        <pc:spChg chg="mod ord">
          <ac:chgData name="Alina D" userId="24a60029abdc116d" providerId="LiveId" clId="{B2B885B0-7DDD-40D5-9AC7-E0D47B22B6DA}" dt="2018-06-03T10:27:33.281" v="6872" actId="2696"/>
          <ac:spMkLst>
            <pc:docMk/>
            <pc:sldMk cId="1067834808" sldId="270"/>
            <ac:spMk id="12" creationId="{89E54516-90BF-425F-949F-F623C01E5389}"/>
          </ac:spMkLst>
        </pc:spChg>
        <pc:spChg chg="mod ord">
          <ac:chgData name="Alina D" userId="24a60029abdc116d" providerId="LiveId" clId="{B2B885B0-7DDD-40D5-9AC7-E0D47B22B6DA}" dt="2018-06-03T10:27:33.281" v="6873" actId="2696"/>
          <ac:spMkLst>
            <pc:docMk/>
            <pc:sldMk cId="1067834808" sldId="270"/>
            <ac:spMk id="13" creationId="{B158822E-A857-45EF-9A10-F4E667086766}"/>
          </ac:spMkLst>
        </pc:spChg>
        <pc:spChg chg="mod ord">
          <ac:chgData name="Alina D" userId="24a60029abdc116d" providerId="LiveId" clId="{B2B885B0-7DDD-40D5-9AC7-E0D47B22B6DA}" dt="2018-06-03T10:27:33.283" v="6874" actId="2696"/>
          <ac:spMkLst>
            <pc:docMk/>
            <pc:sldMk cId="1067834808" sldId="270"/>
            <ac:spMk id="14" creationId="{E009EC02-41EF-4A83-B869-880649E22CB5}"/>
          </ac:spMkLst>
        </pc:spChg>
        <pc:spChg chg="mod ord">
          <ac:chgData name="Alina D" userId="24a60029abdc116d" providerId="LiveId" clId="{B2B885B0-7DDD-40D5-9AC7-E0D47B22B6DA}" dt="2018-06-03T10:27:33.283" v="6875" actId="2696"/>
          <ac:spMkLst>
            <pc:docMk/>
            <pc:sldMk cId="1067834808" sldId="270"/>
            <ac:spMk id="15" creationId="{D48ABDA3-C552-4778-A95F-85572BB175DF}"/>
          </ac:spMkLst>
        </pc:spChg>
        <pc:spChg chg="del">
          <ac:chgData name="Alina D" userId="24a60029abdc116d" providerId="LiveId" clId="{B2B885B0-7DDD-40D5-9AC7-E0D47B22B6DA}" dt="2018-06-03T10:27:32.674" v="6304" actId="478"/>
          <ac:spMkLst>
            <pc:docMk/>
            <pc:sldMk cId="1067834808" sldId="270"/>
            <ac:spMk id="30" creationId="{F432DC80-0775-4C55-9AE9-BC180CF90A60}"/>
          </ac:spMkLst>
        </pc:spChg>
        <pc:spChg chg="del">
          <ac:chgData name="Alina D" userId="24a60029abdc116d" providerId="LiveId" clId="{B2B885B0-7DDD-40D5-9AC7-E0D47B22B6DA}" dt="2018-06-03T10:27:32.679" v="6305" actId="478"/>
          <ac:spMkLst>
            <pc:docMk/>
            <pc:sldMk cId="1067834808" sldId="270"/>
            <ac:spMk id="31" creationId="{D01EABF9-C153-4EA2-AFCE-41595FC0467C}"/>
          </ac:spMkLst>
        </pc:spChg>
        <pc:spChg chg="del">
          <ac:chgData name="Alina D" userId="24a60029abdc116d" providerId="LiveId" clId="{B2B885B0-7DDD-40D5-9AC7-E0D47B22B6DA}" dt="2018-06-03T10:27:32.680" v="6306" actId="478"/>
          <ac:spMkLst>
            <pc:docMk/>
            <pc:sldMk cId="1067834808" sldId="270"/>
            <ac:spMk id="32" creationId="{02392BB6-4362-4EE3-AA71-443CD360A01E}"/>
          </ac:spMkLst>
        </pc:spChg>
        <pc:spChg chg="del">
          <ac:chgData name="Alina D" userId="24a60029abdc116d" providerId="LiveId" clId="{B2B885B0-7DDD-40D5-9AC7-E0D47B22B6DA}" dt="2018-06-03T10:27:32.680" v="6307" actId="478"/>
          <ac:spMkLst>
            <pc:docMk/>
            <pc:sldMk cId="1067834808" sldId="270"/>
            <ac:spMk id="33" creationId="{8CD7753A-B98A-43A4-B674-A63C5627A9A1}"/>
          </ac:spMkLst>
        </pc:spChg>
        <pc:spChg chg="del">
          <ac:chgData name="Alina D" userId="24a60029abdc116d" providerId="LiveId" clId="{B2B885B0-7DDD-40D5-9AC7-E0D47B22B6DA}" dt="2018-06-03T10:27:32.680" v="6308" actId="478"/>
          <ac:spMkLst>
            <pc:docMk/>
            <pc:sldMk cId="1067834808" sldId="270"/>
            <ac:spMk id="34" creationId="{7B497824-DDF6-433A-AD4E-6B3B6774DEBB}"/>
          </ac:spMkLst>
        </pc:spChg>
        <pc:spChg chg="del">
          <ac:chgData name="Alina D" userId="24a60029abdc116d" providerId="LiveId" clId="{B2B885B0-7DDD-40D5-9AC7-E0D47B22B6DA}" dt="2018-06-03T10:27:32.681" v="6309" actId="478"/>
          <ac:spMkLst>
            <pc:docMk/>
            <pc:sldMk cId="1067834808" sldId="270"/>
            <ac:spMk id="35" creationId="{A4293CC9-4E58-4F93-B383-7A0B2565BCF0}"/>
          </ac:spMkLst>
        </pc:spChg>
        <pc:spChg chg="del">
          <ac:chgData name="Alina D" userId="24a60029abdc116d" providerId="LiveId" clId="{B2B885B0-7DDD-40D5-9AC7-E0D47B22B6DA}" dt="2018-06-03T10:27:32.681" v="6310" actId="478"/>
          <ac:spMkLst>
            <pc:docMk/>
            <pc:sldMk cId="1067834808" sldId="270"/>
            <ac:spMk id="36" creationId="{DB9017F1-FBC8-452A-A715-99DD7C3A6BB1}"/>
          </ac:spMkLst>
        </pc:spChg>
        <pc:spChg chg="del">
          <ac:chgData name="Alina D" userId="24a60029abdc116d" providerId="LiveId" clId="{B2B885B0-7DDD-40D5-9AC7-E0D47B22B6DA}" dt="2018-06-03T10:27:32.683" v="6313" actId="478"/>
          <ac:spMkLst>
            <pc:docMk/>
            <pc:sldMk cId="1067834808" sldId="270"/>
            <ac:spMk id="39" creationId="{0C9FE41B-A077-4CA3-B105-C9A7FC0D70BE}"/>
          </ac:spMkLst>
        </pc:spChg>
        <pc:spChg chg="del">
          <ac:chgData name="Alina D" userId="24a60029abdc116d" providerId="LiveId" clId="{B2B885B0-7DDD-40D5-9AC7-E0D47B22B6DA}" dt="2018-06-03T10:27:32.683" v="6314" actId="478"/>
          <ac:spMkLst>
            <pc:docMk/>
            <pc:sldMk cId="1067834808" sldId="270"/>
            <ac:spMk id="40" creationId="{A2B53CE9-684E-4457-B8F7-9FCC8ED3F713}"/>
          </ac:spMkLst>
        </pc:spChg>
        <pc:spChg chg="del">
          <ac:chgData name="Alina D" userId="24a60029abdc116d" providerId="LiveId" clId="{B2B885B0-7DDD-40D5-9AC7-E0D47B22B6DA}" dt="2018-06-03T10:27:32.685" v="6315" actId="478"/>
          <ac:spMkLst>
            <pc:docMk/>
            <pc:sldMk cId="1067834808" sldId="270"/>
            <ac:spMk id="41" creationId="{DBFDCD3C-E5D9-4840-9EA8-64B9770ECD8A}"/>
          </ac:spMkLst>
        </pc:spChg>
        <pc:spChg chg="del">
          <ac:chgData name="Alina D" userId="24a60029abdc116d" providerId="LiveId" clId="{B2B885B0-7DDD-40D5-9AC7-E0D47B22B6DA}" dt="2018-06-03T10:27:32.686" v="6316" actId="478"/>
          <ac:spMkLst>
            <pc:docMk/>
            <pc:sldMk cId="1067834808" sldId="270"/>
            <ac:spMk id="42" creationId="{82D1F2A3-7EE2-48D9-A937-4A9036FCA6D2}"/>
          </ac:spMkLst>
        </pc:spChg>
        <pc:cxnChg chg="mod ord">
          <ac:chgData name="Alina D" userId="24a60029abdc116d" providerId="LiveId" clId="{B2B885B0-7DDD-40D5-9AC7-E0D47B22B6DA}" dt="2018-06-03T10:27:33.280" v="6870" actId="2696"/>
          <ac:cxnSpMkLst>
            <pc:docMk/>
            <pc:sldMk cId="1067834808" sldId="270"/>
            <ac:cxnSpMk id="10" creationId="{F28B5037-D4F6-4EC7-A0E3-1C213908F66C}"/>
          </ac:cxnSpMkLst>
        </pc:cxnChg>
        <pc:cxnChg chg="mod ord">
          <ac:chgData name="Alina D" userId="24a60029abdc116d" providerId="LiveId" clId="{B2B885B0-7DDD-40D5-9AC7-E0D47B22B6DA}" dt="2018-06-03T10:27:33.280" v="6871" actId="2696"/>
          <ac:cxnSpMkLst>
            <pc:docMk/>
            <pc:sldMk cId="1067834808" sldId="270"/>
            <ac:cxnSpMk id="11" creationId="{95595E1E-36E5-4592-AFDB-8A723E91A4C4}"/>
          </ac:cxnSpMkLst>
        </pc:cxnChg>
        <pc:cxnChg chg="del">
          <ac:chgData name="Alina D" userId="24a60029abdc116d" providerId="LiveId" clId="{B2B885B0-7DDD-40D5-9AC7-E0D47B22B6DA}" dt="2018-06-03T10:27:32.682" v="6311" actId="478"/>
          <ac:cxnSpMkLst>
            <pc:docMk/>
            <pc:sldMk cId="1067834808" sldId="270"/>
            <ac:cxnSpMk id="37" creationId="{B71A046E-0915-4C86-B16E-006C024B087F}"/>
          </ac:cxnSpMkLst>
        </pc:cxnChg>
        <pc:cxnChg chg="del">
          <ac:chgData name="Alina D" userId="24a60029abdc116d" providerId="LiveId" clId="{B2B885B0-7DDD-40D5-9AC7-E0D47B22B6DA}" dt="2018-06-03T10:27:32.682" v="6312" actId="478"/>
          <ac:cxnSpMkLst>
            <pc:docMk/>
            <pc:sldMk cId="1067834808" sldId="270"/>
            <ac:cxnSpMk id="38" creationId="{210BABE4-AB73-46B3-9FA3-02D5AB90BB5B}"/>
          </ac:cxnSpMkLst>
        </pc:cxnChg>
      </pc:sldChg>
      <pc:sldChg chg="addSp delSp modSp del">
        <pc:chgData name="Alina D" userId="24a60029abdc116d" providerId="LiveId" clId="{B2B885B0-7DDD-40D5-9AC7-E0D47B22B6DA}" dt="2018-06-03T10:52:14.863" v="7189" actId="2696"/>
        <pc:sldMkLst>
          <pc:docMk/>
          <pc:sldMk cId="1442092672" sldId="271"/>
        </pc:sldMkLst>
        <pc:spChg chg="add mod ord">
          <ac:chgData name="Alina D" userId="24a60029abdc116d" providerId="LiveId" clId="{B2B885B0-7DDD-40D5-9AC7-E0D47B22B6DA}" dt="2018-06-03T10:27:33.435" v="7000" actId="2696"/>
          <ac:spMkLst>
            <pc:docMk/>
            <pc:sldMk cId="1442092672" sldId="271"/>
            <ac:spMk id="3" creationId="{F4C31F9D-822F-47AC-98C2-52E852033BFE}"/>
          </ac:spMkLst>
        </pc:spChg>
        <pc:spChg chg="mod ord">
          <ac:chgData name="Alina D" userId="24a60029abdc116d" providerId="LiveId" clId="{B2B885B0-7DDD-40D5-9AC7-E0D47B22B6DA}" dt="2018-06-03T10:27:33.437" v="7001" actId="2696"/>
          <ac:spMkLst>
            <pc:docMk/>
            <pc:sldMk cId="1442092672" sldId="271"/>
            <ac:spMk id="4" creationId="{5C6F9F5B-597A-4737-BF10-A9BE8B5B2224}"/>
          </ac:spMkLst>
        </pc:spChg>
        <pc:spChg chg="mod ord">
          <ac:chgData name="Alina D" userId="24a60029abdc116d" providerId="LiveId" clId="{B2B885B0-7DDD-40D5-9AC7-E0D47B22B6DA}" dt="2018-06-03T10:27:33.437" v="7002" actId="2696"/>
          <ac:spMkLst>
            <pc:docMk/>
            <pc:sldMk cId="1442092672" sldId="271"/>
            <ac:spMk id="5" creationId="{15C91582-FBF8-450B-AE2D-4315A719983F}"/>
          </ac:spMkLst>
        </pc:spChg>
        <pc:spChg chg="mod ord">
          <ac:chgData name="Alina D" userId="24a60029abdc116d" providerId="LiveId" clId="{B2B885B0-7DDD-40D5-9AC7-E0D47B22B6DA}" dt="2018-06-03T10:27:33.438" v="7003" actId="2696"/>
          <ac:spMkLst>
            <pc:docMk/>
            <pc:sldMk cId="1442092672" sldId="271"/>
            <ac:spMk id="6" creationId="{2F4E4C95-1495-44D4-A964-6C393315E852}"/>
          </ac:spMkLst>
        </pc:spChg>
        <pc:spChg chg="mod ord">
          <ac:chgData name="Alina D" userId="24a60029abdc116d" providerId="LiveId" clId="{B2B885B0-7DDD-40D5-9AC7-E0D47B22B6DA}" dt="2018-06-03T10:27:33.438" v="7004" actId="2696"/>
          <ac:spMkLst>
            <pc:docMk/>
            <pc:sldMk cId="1442092672" sldId="271"/>
            <ac:spMk id="7" creationId="{FACF2429-A7BC-4B37-982B-0629C563CAF9}"/>
          </ac:spMkLst>
        </pc:spChg>
        <pc:spChg chg="mod ord">
          <ac:chgData name="Alina D" userId="24a60029abdc116d" providerId="LiveId" clId="{B2B885B0-7DDD-40D5-9AC7-E0D47B22B6DA}" dt="2018-06-03T10:27:33.439" v="7005" actId="2696"/>
          <ac:spMkLst>
            <pc:docMk/>
            <pc:sldMk cId="1442092672" sldId="271"/>
            <ac:spMk id="8" creationId="{A836A81B-F7CF-414E-972C-D924DD9EDC79}"/>
          </ac:spMkLst>
        </pc:spChg>
        <pc:spChg chg="mod ord">
          <ac:chgData name="Alina D" userId="24a60029abdc116d" providerId="LiveId" clId="{B2B885B0-7DDD-40D5-9AC7-E0D47B22B6DA}" dt="2018-06-03T10:27:33.439" v="7006" actId="2696"/>
          <ac:spMkLst>
            <pc:docMk/>
            <pc:sldMk cId="1442092672" sldId="271"/>
            <ac:spMk id="9" creationId="{0DB27573-B41D-4A4E-94C8-F8572199AF68}"/>
          </ac:spMkLst>
        </pc:spChg>
        <pc:spChg chg="mod ord">
          <ac:chgData name="Alina D" userId="24a60029abdc116d" providerId="LiveId" clId="{B2B885B0-7DDD-40D5-9AC7-E0D47B22B6DA}" dt="2018-06-03T10:27:33.439" v="7007" actId="2696"/>
          <ac:spMkLst>
            <pc:docMk/>
            <pc:sldMk cId="1442092672" sldId="271"/>
            <ac:spMk id="10" creationId="{B86BB305-7979-49DB-8866-FE792EFAAE6A}"/>
          </ac:spMkLst>
        </pc:spChg>
        <pc:spChg chg="mod ord">
          <ac:chgData name="Alina D" userId="24a60029abdc116d" providerId="LiveId" clId="{B2B885B0-7DDD-40D5-9AC7-E0D47B22B6DA}" dt="2018-06-03T10:27:33.440" v="7008" actId="2696"/>
          <ac:spMkLst>
            <pc:docMk/>
            <pc:sldMk cId="1442092672" sldId="271"/>
            <ac:spMk id="11" creationId="{D4FE42F0-4FF9-48F1-AC4B-0A44D121C737}"/>
          </ac:spMkLst>
        </pc:spChg>
        <pc:spChg chg="mod ord">
          <ac:chgData name="Alina D" userId="24a60029abdc116d" providerId="LiveId" clId="{B2B885B0-7DDD-40D5-9AC7-E0D47B22B6DA}" dt="2018-06-03T10:27:33.442" v="7011" actId="2696"/>
          <ac:spMkLst>
            <pc:docMk/>
            <pc:sldMk cId="1442092672" sldId="271"/>
            <ac:spMk id="14" creationId="{C6D47880-3346-4887-B4E3-7F0651BD3AFF}"/>
          </ac:spMkLst>
        </pc:spChg>
        <pc:spChg chg="mod ord">
          <ac:chgData name="Alina D" userId="24a60029abdc116d" providerId="LiveId" clId="{B2B885B0-7DDD-40D5-9AC7-E0D47B22B6DA}" dt="2018-06-03T10:27:33.443" v="7012" actId="2696"/>
          <ac:spMkLst>
            <pc:docMk/>
            <pc:sldMk cId="1442092672" sldId="271"/>
            <ac:spMk id="15" creationId="{EE8D6F9C-CDBE-4881-A072-34A2C73445EA}"/>
          </ac:spMkLst>
        </pc:spChg>
        <pc:spChg chg="del">
          <ac:chgData name="Alina D" userId="24a60029abdc116d" providerId="LiveId" clId="{B2B885B0-7DDD-40D5-9AC7-E0D47B22B6DA}" dt="2018-06-03T10:27:32.686" v="6317" actId="478"/>
          <ac:spMkLst>
            <pc:docMk/>
            <pc:sldMk cId="1442092672" sldId="271"/>
            <ac:spMk id="30" creationId="{FFDBD916-63CE-4BA7-A714-917FEF3CE3D3}"/>
          </ac:spMkLst>
        </pc:spChg>
        <pc:spChg chg="del">
          <ac:chgData name="Alina D" userId="24a60029abdc116d" providerId="LiveId" clId="{B2B885B0-7DDD-40D5-9AC7-E0D47B22B6DA}" dt="2018-06-03T10:27:32.690" v="6318" actId="478"/>
          <ac:spMkLst>
            <pc:docMk/>
            <pc:sldMk cId="1442092672" sldId="271"/>
            <ac:spMk id="31" creationId="{8927CFDC-FDCA-4B93-A67B-71E7346A3887}"/>
          </ac:spMkLst>
        </pc:spChg>
        <pc:spChg chg="del">
          <ac:chgData name="Alina D" userId="24a60029abdc116d" providerId="LiveId" clId="{B2B885B0-7DDD-40D5-9AC7-E0D47B22B6DA}" dt="2018-06-03T10:27:32.691" v="6319" actId="478"/>
          <ac:spMkLst>
            <pc:docMk/>
            <pc:sldMk cId="1442092672" sldId="271"/>
            <ac:spMk id="32" creationId="{C74616EB-470D-4FBA-A19A-76B3B1A976E5}"/>
          </ac:spMkLst>
        </pc:spChg>
        <pc:spChg chg="del">
          <ac:chgData name="Alina D" userId="24a60029abdc116d" providerId="LiveId" clId="{B2B885B0-7DDD-40D5-9AC7-E0D47B22B6DA}" dt="2018-06-03T10:27:32.692" v="6320" actId="478"/>
          <ac:spMkLst>
            <pc:docMk/>
            <pc:sldMk cId="1442092672" sldId="271"/>
            <ac:spMk id="33" creationId="{A9A33CE3-0648-4024-B00C-8073EA850767}"/>
          </ac:spMkLst>
        </pc:spChg>
        <pc:spChg chg="del">
          <ac:chgData name="Alina D" userId="24a60029abdc116d" providerId="LiveId" clId="{B2B885B0-7DDD-40D5-9AC7-E0D47B22B6DA}" dt="2018-06-03T10:27:32.692" v="6321" actId="478"/>
          <ac:spMkLst>
            <pc:docMk/>
            <pc:sldMk cId="1442092672" sldId="271"/>
            <ac:spMk id="34" creationId="{D363C4E9-44ED-4D01-B045-AADA6A0D08B4}"/>
          </ac:spMkLst>
        </pc:spChg>
        <pc:spChg chg="del">
          <ac:chgData name="Alina D" userId="24a60029abdc116d" providerId="LiveId" clId="{B2B885B0-7DDD-40D5-9AC7-E0D47B22B6DA}" dt="2018-06-03T10:27:32.693" v="6322" actId="478"/>
          <ac:spMkLst>
            <pc:docMk/>
            <pc:sldMk cId="1442092672" sldId="271"/>
            <ac:spMk id="35" creationId="{65F86084-1861-4734-BCA1-23F6239EE218}"/>
          </ac:spMkLst>
        </pc:spChg>
        <pc:spChg chg="del">
          <ac:chgData name="Alina D" userId="24a60029abdc116d" providerId="LiveId" clId="{B2B885B0-7DDD-40D5-9AC7-E0D47B22B6DA}" dt="2018-06-03T10:27:32.693" v="6323" actId="478"/>
          <ac:spMkLst>
            <pc:docMk/>
            <pc:sldMk cId="1442092672" sldId="271"/>
            <ac:spMk id="36" creationId="{E3238B89-FAD5-41D4-A8A9-B7F964A91F78}"/>
          </ac:spMkLst>
        </pc:spChg>
        <pc:spChg chg="del">
          <ac:chgData name="Alina D" userId="24a60029abdc116d" providerId="LiveId" clId="{B2B885B0-7DDD-40D5-9AC7-E0D47B22B6DA}" dt="2018-06-03T10:27:32.694" v="6324" actId="478"/>
          <ac:spMkLst>
            <pc:docMk/>
            <pc:sldMk cId="1442092672" sldId="271"/>
            <ac:spMk id="37" creationId="{F07CF734-C227-4BC6-84A3-FF695AED900A}"/>
          </ac:spMkLst>
        </pc:spChg>
        <pc:spChg chg="del">
          <ac:chgData name="Alina D" userId="24a60029abdc116d" providerId="LiveId" clId="{B2B885B0-7DDD-40D5-9AC7-E0D47B22B6DA}" dt="2018-06-03T10:27:32.694" v="6325" actId="478"/>
          <ac:spMkLst>
            <pc:docMk/>
            <pc:sldMk cId="1442092672" sldId="271"/>
            <ac:spMk id="38" creationId="{229E04CA-5F2A-4EE5-8653-04B68EB8A880}"/>
          </ac:spMkLst>
        </pc:spChg>
        <pc:spChg chg="del">
          <ac:chgData name="Alina D" userId="24a60029abdc116d" providerId="LiveId" clId="{B2B885B0-7DDD-40D5-9AC7-E0D47B22B6DA}" dt="2018-06-03T10:27:32.696" v="6328" actId="478"/>
          <ac:spMkLst>
            <pc:docMk/>
            <pc:sldMk cId="1442092672" sldId="271"/>
            <ac:spMk id="41" creationId="{D2FCE46C-D258-464D-B1DB-5D97190ADE70}"/>
          </ac:spMkLst>
        </pc:spChg>
        <pc:spChg chg="del">
          <ac:chgData name="Alina D" userId="24a60029abdc116d" providerId="LiveId" clId="{B2B885B0-7DDD-40D5-9AC7-E0D47B22B6DA}" dt="2018-06-03T10:27:32.696" v="6329" actId="478"/>
          <ac:spMkLst>
            <pc:docMk/>
            <pc:sldMk cId="1442092672" sldId="271"/>
            <ac:spMk id="42" creationId="{E3DC5A92-CC22-4F17-82C8-EBF0720D5AD7}"/>
          </ac:spMkLst>
        </pc:spChg>
        <pc:cxnChg chg="mod ord">
          <ac:chgData name="Alina D" userId="24a60029abdc116d" providerId="LiveId" clId="{B2B885B0-7DDD-40D5-9AC7-E0D47B22B6DA}" dt="2018-06-03T10:27:33.440" v="7009" actId="2696"/>
          <ac:cxnSpMkLst>
            <pc:docMk/>
            <pc:sldMk cId="1442092672" sldId="271"/>
            <ac:cxnSpMk id="12" creationId="{6E96F472-CCC8-43E9-BF6D-1654FA6153E2}"/>
          </ac:cxnSpMkLst>
        </pc:cxnChg>
        <pc:cxnChg chg="mod ord">
          <ac:chgData name="Alina D" userId="24a60029abdc116d" providerId="LiveId" clId="{B2B885B0-7DDD-40D5-9AC7-E0D47B22B6DA}" dt="2018-06-03T10:27:33.442" v="7010" actId="2696"/>
          <ac:cxnSpMkLst>
            <pc:docMk/>
            <pc:sldMk cId="1442092672" sldId="271"/>
            <ac:cxnSpMk id="13" creationId="{F06AA4B2-84B8-48BE-9CDE-67726B612D4C}"/>
          </ac:cxnSpMkLst>
        </pc:cxnChg>
        <pc:cxnChg chg="del">
          <ac:chgData name="Alina D" userId="24a60029abdc116d" providerId="LiveId" clId="{B2B885B0-7DDD-40D5-9AC7-E0D47B22B6DA}" dt="2018-06-03T10:27:32.695" v="6326" actId="478"/>
          <ac:cxnSpMkLst>
            <pc:docMk/>
            <pc:sldMk cId="1442092672" sldId="271"/>
            <ac:cxnSpMk id="39" creationId="{61074C40-868E-4460-B00D-A3E446D8069D}"/>
          </ac:cxnSpMkLst>
        </pc:cxnChg>
        <pc:cxnChg chg="del">
          <ac:chgData name="Alina D" userId="24a60029abdc116d" providerId="LiveId" clId="{B2B885B0-7DDD-40D5-9AC7-E0D47B22B6DA}" dt="2018-06-03T10:27:32.695" v="6327" actId="478"/>
          <ac:cxnSpMkLst>
            <pc:docMk/>
            <pc:sldMk cId="1442092672" sldId="271"/>
            <ac:cxnSpMk id="40" creationId="{2F8B4651-CDD6-490E-8819-230862867702}"/>
          </ac:cxnSpMkLst>
        </pc:cxnChg>
      </pc:sldChg>
      <pc:sldChg chg="addSp delSp modSp">
        <pc:chgData name="Alina D" userId="24a60029abdc116d" providerId="LiveId" clId="{B2B885B0-7DDD-40D5-9AC7-E0D47B22B6DA}" dt="2018-06-03T10:52:45.145" v="9337" actId="2696"/>
        <pc:sldMkLst>
          <pc:docMk/>
          <pc:sldMk cId="1349911159" sldId="272"/>
        </pc:sldMkLst>
        <pc:spChg chg="add del mod ord">
          <ac:chgData name="Alina D" userId="24a60029abdc116d" providerId="LiveId" clId="{B2B885B0-7DDD-40D5-9AC7-E0D47B22B6DA}" dt="2018-06-03T10:52:27.969" v="7696" actId="478"/>
          <ac:spMkLst>
            <pc:docMk/>
            <pc:sldMk cId="1349911159" sldId="272"/>
            <ac:spMk id="3" creationId="{BF8E8BBB-E8D7-45A2-B5D4-36E28D004486}"/>
          </ac:spMkLst>
        </pc:spChg>
        <pc:spChg chg="del mod ord">
          <ac:chgData name="Alina D" userId="24a60029abdc116d" providerId="LiveId" clId="{B2B885B0-7DDD-40D5-9AC7-E0D47B22B6DA}" dt="2018-06-03T10:52:27.972" v="7697" actId="478"/>
          <ac:spMkLst>
            <pc:docMk/>
            <pc:sldMk cId="1349911159" sldId="272"/>
            <ac:spMk id="4" creationId="{9E47F9AF-DCC5-4E56-8504-90A7D9294B57}"/>
          </ac:spMkLst>
        </pc:spChg>
        <pc:spChg chg="del mod ord">
          <ac:chgData name="Alina D" userId="24a60029abdc116d" providerId="LiveId" clId="{B2B885B0-7DDD-40D5-9AC7-E0D47B22B6DA}" dt="2018-06-03T10:52:27.973" v="7698" actId="478"/>
          <ac:spMkLst>
            <pc:docMk/>
            <pc:sldMk cId="1349911159" sldId="272"/>
            <ac:spMk id="5" creationId="{671C4F5C-EEF9-412C-8B83-CC91DF13A3D8}"/>
          </ac:spMkLst>
        </pc:spChg>
        <pc:spChg chg="del mod ord">
          <ac:chgData name="Alina D" userId="24a60029abdc116d" providerId="LiveId" clId="{B2B885B0-7DDD-40D5-9AC7-E0D47B22B6DA}" dt="2018-06-03T10:52:27.974" v="7699" actId="478"/>
          <ac:spMkLst>
            <pc:docMk/>
            <pc:sldMk cId="1349911159" sldId="272"/>
            <ac:spMk id="6" creationId="{5942377F-906C-47B4-8CBD-EEFC3553F624}"/>
          </ac:spMkLst>
        </pc:spChg>
        <pc:spChg chg="del mod ord">
          <ac:chgData name="Alina D" userId="24a60029abdc116d" providerId="LiveId" clId="{B2B885B0-7DDD-40D5-9AC7-E0D47B22B6DA}" dt="2018-06-03T10:52:27.975" v="7700" actId="478"/>
          <ac:spMkLst>
            <pc:docMk/>
            <pc:sldMk cId="1349911159" sldId="272"/>
            <ac:spMk id="7" creationId="{4608A713-3527-4B8E-A6A2-D0BCB4AFC5E5}"/>
          </ac:spMkLst>
        </pc:spChg>
        <pc:spChg chg="del mod ord">
          <ac:chgData name="Alina D" userId="24a60029abdc116d" providerId="LiveId" clId="{B2B885B0-7DDD-40D5-9AC7-E0D47B22B6DA}" dt="2018-06-03T10:52:27.976" v="7701" actId="478"/>
          <ac:spMkLst>
            <pc:docMk/>
            <pc:sldMk cId="1349911159" sldId="272"/>
            <ac:spMk id="8" creationId="{3B554B4C-135D-45B5-92B3-FAFB7546E3B9}"/>
          </ac:spMkLst>
        </pc:spChg>
        <pc:spChg chg="del mod ord">
          <ac:chgData name="Alina D" userId="24a60029abdc116d" providerId="LiveId" clId="{B2B885B0-7DDD-40D5-9AC7-E0D47B22B6DA}" dt="2018-06-03T10:52:27.976" v="7702" actId="478"/>
          <ac:spMkLst>
            <pc:docMk/>
            <pc:sldMk cId="1349911159" sldId="272"/>
            <ac:spMk id="9" creationId="{BBAFE151-B4AD-4F1B-BE6F-25F84113D4D3}"/>
          </ac:spMkLst>
        </pc:spChg>
        <pc:spChg chg="del mod ord">
          <ac:chgData name="Alina D" userId="24a60029abdc116d" providerId="LiveId" clId="{B2B885B0-7DDD-40D5-9AC7-E0D47B22B6DA}" dt="2018-06-03T10:52:27.978" v="7703" actId="478"/>
          <ac:spMkLst>
            <pc:docMk/>
            <pc:sldMk cId="1349911159" sldId="272"/>
            <ac:spMk id="10" creationId="{45E9B74E-CA28-4841-87A8-92897115883A}"/>
          </ac:spMkLst>
        </pc:spChg>
        <pc:spChg chg="del mod ord">
          <ac:chgData name="Alina D" userId="24a60029abdc116d" providerId="LiveId" clId="{B2B885B0-7DDD-40D5-9AC7-E0D47B22B6DA}" dt="2018-06-03T10:52:27.979" v="7704" actId="478"/>
          <ac:spMkLst>
            <pc:docMk/>
            <pc:sldMk cId="1349911159" sldId="272"/>
            <ac:spMk id="11" creationId="{7A7B603C-1E59-4D6B-ACA6-12A39BF07393}"/>
          </ac:spMkLst>
        </pc:spChg>
        <pc:spChg chg="del mod ord">
          <ac:chgData name="Alina D" userId="24a60029abdc116d" providerId="LiveId" clId="{B2B885B0-7DDD-40D5-9AC7-E0D47B22B6DA}" dt="2018-06-03T10:52:27.979" v="7705" actId="478"/>
          <ac:spMkLst>
            <pc:docMk/>
            <pc:sldMk cId="1349911159" sldId="272"/>
            <ac:spMk id="12" creationId="{BEE5EF02-B484-42D2-86BC-A1E88E62563D}"/>
          </ac:spMkLst>
        </pc:spChg>
        <pc:spChg chg="del mod ord">
          <ac:chgData name="Alina D" userId="24a60029abdc116d" providerId="LiveId" clId="{B2B885B0-7DDD-40D5-9AC7-E0D47B22B6DA}" dt="2018-06-03T10:52:27.980" v="7706" actId="478"/>
          <ac:spMkLst>
            <pc:docMk/>
            <pc:sldMk cId="1349911159" sldId="272"/>
            <ac:spMk id="13" creationId="{39CF48B7-2CE5-441E-9641-72118ADE40FA}"/>
          </ac:spMkLst>
        </pc:spChg>
        <pc:spChg chg="add del mod ord">
          <ac:chgData name="Alina D" userId="24a60029abdc116d" providerId="LiveId" clId="{B2B885B0-7DDD-40D5-9AC7-E0D47B22B6DA}" dt="2018-06-03T10:52:44.636" v="8777" actId="478"/>
          <ac:spMkLst>
            <pc:docMk/>
            <pc:sldMk cId="1349911159" sldId="272"/>
            <ac:spMk id="17" creationId="{26AA1C6A-E4FF-49B5-9944-2B022881BE89}"/>
          </ac:spMkLst>
        </pc:spChg>
        <pc:spChg chg="del mod ord">
          <ac:chgData name="Alina D" userId="24a60029abdc116d" providerId="LiveId" clId="{B2B885B0-7DDD-40D5-9AC7-E0D47B22B6DA}" dt="2018-06-03T10:52:44.639" v="8778" actId="478"/>
          <ac:spMkLst>
            <pc:docMk/>
            <pc:sldMk cId="1349911159" sldId="272"/>
            <ac:spMk id="18" creationId="{58C74613-2826-4C1B-A29F-D9FE937EE4F1}"/>
          </ac:spMkLst>
        </pc:spChg>
        <pc:spChg chg="del mod ord">
          <ac:chgData name="Alina D" userId="24a60029abdc116d" providerId="LiveId" clId="{B2B885B0-7DDD-40D5-9AC7-E0D47B22B6DA}" dt="2018-06-03T10:52:44.639" v="8779" actId="478"/>
          <ac:spMkLst>
            <pc:docMk/>
            <pc:sldMk cId="1349911159" sldId="272"/>
            <ac:spMk id="19" creationId="{EE367DF3-8BF4-43D2-AB87-24F48BFE244E}"/>
          </ac:spMkLst>
        </pc:spChg>
        <pc:spChg chg="del mod ord">
          <ac:chgData name="Alina D" userId="24a60029abdc116d" providerId="LiveId" clId="{B2B885B0-7DDD-40D5-9AC7-E0D47B22B6DA}" dt="2018-06-03T10:52:44.639" v="8780" actId="478"/>
          <ac:spMkLst>
            <pc:docMk/>
            <pc:sldMk cId="1349911159" sldId="272"/>
            <ac:spMk id="20" creationId="{F8F46772-A4F8-4F4C-AED7-4948D458A159}"/>
          </ac:spMkLst>
        </pc:spChg>
        <pc:spChg chg="del mod ord">
          <ac:chgData name="Alina D" userId="24a60029abdc116d" providerId="LiveId" clId="{B2B885B0-7DDD-40D5-9AC7-E0D47B22B6DA}" dt="2018-06-03T10:52:44.640" v="8781" actId="478"/>
          <ac:spMkLst>
            <pc:docMk/>
            <pc:sldMk cId="1349911159" sldId="272"/>
            <ac:spMk id="21" creationId="{C4831BA3-DDAC-48FD-9344-24207E62B55E}"/>
          </ac:spMkLst>
        </pc:spChg>
        <pc:spChg chg="del mod ord">
          <ac:chgData name="Alina D" userId="24a60029abdc116d" providerId="LiveId" clId="{B2B885B0-7DDD-40D5-9AC7-E0D47B22B6DA}" dt="2018-06-03T10:52:44.640" v="8782" actId="478"/>
          <ac:spMkLst>
            <pc:docMk/>
            <pc:sldMk cId="1349911159" sldId="272"/>
            <ac:spMk id="22" creationId="{3904DFC5-F4E3-4BC5-8CC6-1154690E2B43}"/>
          </ac:spMkLst>
        </pc:spChg>
        <pc:spChg chg="del mod ord">
          <ac:chgData name="Alina D" userId="24a60029abdc116d" providerId="LiveId" clId="{B2B885B0-7DDD-40D5-9AC7-E0D47B22B6DA}" dt="2018-06-03T10:52:44.640" v="8783" actId="478"/>
          <ac:spMkLst>
            <pc:docMk/>
            <pc:sldMk cId="1349911159" sldId="272"/>
            <ac:spMk id="23" creationId="{6B0ECFD6-6CA8-446A-84F8-5D279CDF8C18}"/>
          </ac:spMkLst>
        </pc:spChg>
        <pc:spChg chg="del mod ord">
          <ac:chgData name="Alina D" userId="24a60029abdc116d" providerId="LiveId" clId="{B2B885B0-7DDD-40D5-9AC7-E0D47B22B6DA}" dt="2018-06-03T10:52:44.641" v="8784" actId="478"/>
          <ac:spMkLst>
            <pc:docMk/>
            <pc:sldMk cId="1349911159" sldId="272"/>
            <ac:spMk id="24" creationId="{6693536F-E35C-462C-963D-91EAAC2CA9E0}"/>
          </ac:spMkLst>
        </pc:spChg>
        <pc:spChg chg="del mod ord">
          <ac:chgData name="Alina D" userId="24a60029abdc116d" providerId="LiveId" clId="{B2B885B0-7DDD-40D5-9AC7-E0D47B22B6DA}" dt="2018-06-03T10:52:44.641" v="8785" actId="478"/>
          <ac:spMkLst>
            <pc:docMk/>
            <pc:sldMk cId="1349911159" sldId="272"/>
            <ac:spMk id="25" creationId="{DA487DAE-99D1-482F-B06F-6FF20640D670}"/>
          </ac:spMkLst>
        </pc:spChg>
        <pc:spChg chg="add mod ord">
          <ac:chgData name="Alina D" userId="24a60029abdc116d" providerId="LiveId" clId="{B2B885B0-7DDD-40D5-9AC7-E0D47B22B6DA}" dt="2018-06-03T10:52:45.141" v="9327" actId="2696"/>
          <ac:spMkLst>
            <pc:docMk/>
            <pc:sldMk cId="1349911159" sldId="272"/>
            <ac:spMk id="29" creationId="{AB196576-58A6-4477-B405-53203A22FD4C}"/>
          </ac:spMkLst>
        </pc:spChg>
        <pc:spChg chg="del">
          <ac:chgData name="Alina D" userId="24a60029abdc116d" providerId="LiveId" clId="{B2B885B0-7DDD-40D5-9AC7-E0D47B22B6DA}" dt="2018-06-03T10:27:32.699" v="6330" actId="478"/>
          <ac:spMkLst>
            <pc:docMk/>
            <pc:sldMk cId="1349911159" sldId="272"/>
            <ac:spMk id="30" creationId="{53EC5465-6D2A-47E2-A7C3-94250C6BC6B8}"/>
          </ac:spMkLst>
        </pc:spChg>
        <pc:spChg chg="del">
          <ac:chgData name="Alina D" userId="24a60029abdc116d" providerId="LiveId" clId="{B2B885B0-7DDD-40D5-9AC7-E0D47B22B6DA}" dt="2018-06-03T10:27:32.702" v="6331" actId="478"/>
          <ac:spMkLst>
            <pc:docMk/>
            <pc:sldMk cId="1349911159" sldId="272"/>
            <ac:spMk id="31" creationId="{551C06DE-D95B-4E1A-9ABE-2C853FD6AB75}"/>
          </ac:spMkLst>
        </pc:spChg>
        <pc:spChg chg="del">
          <ac:chgData name="Alina D" userId="24a60029abdc116d" providerId="LiveId" clId="{B2B885B0-7DDD-40D5-9AC7-E0D47B22B6DA}" dt="2018-06-03T10:27:32.703" v="6332" actId="478"/>
          <ac:spMkLst>
            <pc:docMk/>
            <pc:sldMk cId="1349911159" sldId="272"/>
            <ac:spMk id="32" creationId="{94DCD0C1-D127-492F-AFAE-82F54D773689}"/>
          </ac:spMkLst>
        </pc:spChg>
        <pc:spChg chg="del">
          <ac:chgData name="Alina D" userId="24a60029abdc116d" providerId="LiveId" clId="{B2B885B0-7DDD-40D5-9AC7-E0D47B22B6DA}" dt="2018-06-03T10:27:32.703" v="6333" actId="478"/>
          <ac:spMkLst>
            <pc:docMk/>
            <pc:sldMk cId="1349911159" sldId="272"/>
            <ac:spMk id="33" creationId="{345B17F7-35CA-43F9-B20F-420AF43EAA67}"/>
          </ac:spMkLst>
        </pc:spChg>
        <pc:spChg chg="del">
          <ac:chgData name="Alina D" userId="24a60029abdc116d" providerId="LiveId" clId="{B2B885B0-7DDD-40D5-9AC7-E0D47B22B6DA}" dt="2018-06-03T10:27:32.704" v="6334" actId="478"/>
          <ac:spMkLst>
            <pc:docMk/>
            <pc:sldMk cId="1349911159" sldId="272"/>
            <ac:spMk id="34" creationId="{B13AA4E6-DE6B-4B06-9CBC-7EDA88F5F433}"/>
          </ac:spMkLst>
        </pc:spChg>
        <pc:spChg chg="del">
          <ac:chgData name="Alina D" userId="24a60029abdc116d" providerId="LiveId" clId="{B2B885B0-7DDD-40D5-9AC7-E0D47B22B6DA}" dt="2018-06-03T10:27:32.705" v="6335" actId="478"/>
          <ac:spMkLst>
            <pc:docMk/>
            <pc:sldMk cId="1349911159" sldId="272"/>
            <ac:spMk id="35" creationId="{ECC4CA68-11EB-401F-8687-7EADB4013DE9}"/>
          </ac:spMkLst>
        </pc:spChg>
        <pc:spChg chg="del">
          <ac:chgData name="Alina D" userId="24a60029abdc116d" providerId="LiveId" clId="{B2B885B0-7DDD-40D5-9AC7-E0D47B22B6DA}" dt="2018-06-03T10:27:32.705" v="6336" actId="478"/>
          <ac:spMkLst>
            <pc:docMk/>
            <pc:sldMk cId="1349911159" sldId="272"/>
            <ac:spMk id="36" creationId="{6EDF53EC-A1A5-4315-A52D-747286B9AE43}"/>
          </ac:spMkLst>
        </pc:spChg>
        <pc:spChg chg="del">
          <ac:chgData name="Alina D" userId="24a60029abdc116d" providerId="LiveId" clId="{B2B885B0-7DDD-40D5-9AC7-E0D47B22B6DA}" dt="2018-06-03T10:27:32.706" v="6337" actId="478"/>
          <ac:spMkLst>
            <pc:docMk/>
            <pc:sldMk cId="1349911159" sldId="272"/>
            <ac:spMk id="37" creationId="{F124A3F6-C047-40B7-9917-111ED9F96010}"/>
          </ac:spMkLst>
        </pc:spChg>
        <pc:spChg chg="del">
          <ac:chgData name="Alina D" userId="24a60029abdc116d" providerId="LiveId" clId="{B2B885B0-7DDD-40D5-9AC7-E0D47B22B6DA}" dt="2018-06-03T10:27:32.706" v="6338" actId="478"/>
          <ac:spMkLst>
            <pc:docMk/>
            <pc:sldMk cId="1349911159" sldId="272"/>
            <ac:spMk id="38" creationId="{A1CB3798-AF42-4DC7-A561-1D219AE0DB0E}"/>
          </ac:spMkLst>
        </pc:spChg>
        <pc:spChg chg="del">
          <ac:chgData name="Alina D" userId="24a60029abdc116d" providerId="LiveId" clId="{B2B885B0-7DDD-40D5-9AC7-E0D47B22B6DA}" dt="2018-06-03T10:27:32.707" v="6339" actId="478"/>
          <ac:spMkLst>
            <pc:docMk/>
            <pc:sldMk cId="1349911159" sldId="272"/>
            <ac:spMk id="39" creationId="{9C0BE51A-239B-4CD2-8E7F-C6080C12717B}"/>
          </ac:spMkLst>
        </pc:spChg>
        <pc:spChg chg="del">
          <ac:chgData name="Alina D" userId="24a60029abdc116d" providerId="LiveId" clId="{B2B885B0-7DDD-40D5-9AC7-E0D47B22B6DA}" dt="2018-06-03T10:27:32.707" v="6340" actId="478"/>
          <ac:spMkLst>
            <pc:docMk/>
            <pc:sldMk cId="1349911159" sldId="272"/>
            <ac:spMk id="40" creationId="{0A480977-6D40-4E7C-9464-AE48B7400AA0}"/>
          </ac:spMkLst>
        </pc:spChg>
        <pc:spChg chg="mod ord">
          <ac:chgData name="Alina D" userId="24a60029abdc116d" providerId="LiveId" clId="{B2B885B0-7DDD-40D5-9AC7-E0D47B22B6DA}" dt="2018-06-03T10:52:45.141" v="9328" actId="2696"/>
          <ac:spMkLst>
            <pc:docMk/>
            <pc:sldMk cId="1349911159" sldId="272"/>
            <ac:spMk id="43" creationId="{7BCD3348-E779-466C-822A-4DC1A8CDE7FE}"/>
          </ac:spMkLst>
        </pc:spChg>
        <pc:spChg chg="mod ord">
          <ac:chgData name="Alina D" userId="24a60029abdc116d" providerId="LiveId" clId="{B2B885B0-7DDD-40D5-9AC7-E0D47B22B6DA}" dt="2018-06-03T10:52:45.143" v="9329" actId="2696"/>
          <ac:spMkLst>
            <pc:docMk/>
            <pc:sldMk cId="1349911159" sldId="272"/>
            <ac:spMk id="44" creationId="{BB9D460A-6BE8-48E3-8DB0-F197AE13A05C}"/>
          </ac:spMkLst>
        </pc:spChg>
        <pc:spChg chg="mod ord">
          <ac:chgData name="Alina D" userId="24a60029abdc116d" providerId="LiveId" clId="{B2B885B0-7DDD-40D5-9AC7-E0D47B22B6DA}" dt="2018-06-03T10:52:45.143" v="9330" actId="2696"/>
          <ac:spMkLst>
            <pc:docMk/>
            <pc:sldMk cId="1349911159" sldId="272"/>
            <ac:spMk id="45" creationId="{3A3CB4E1-3A0D-41DE-93F5-6BBD25380F18}"/>
          </ac:spMkLst>
        </pc:spChg>
        <pc:spChg chg="mod ord">
          <ac:chgData name="Alina D" userId="24a60029abdc116d" providerId="LiveId" clId="{B2B885B0-7DDD-40D5-9AC7-E0D47B22B6DA}" dt="2018-06-03T10:52:45.143" v="9331" actId="2696"/>
          <ac:spMkLst>
            <pc:docMk/>
            <pc:sldMk cId="1349911159" sldId="272"/>
            <ac:spMk id="46" creationId="{F490B797-C70B-48CD-991F-DC496E61B9EA}"/>
          </ac:spMkLst>
        </pc:spChg>
        <pc:spChg chg="mod ord">
          <ac:chgData name="Alina D" userId="24a60029abdc116d" providerId="LiveId" clId="{B2B885B0-7DDD-40D5-9AC7-E0D47B22B6DA}" dt="2018-06-03T10:52:45.144" v="9332" actId="2696"/>
          <ac:spMkLst>
            <pc:docMk/>
            <pc:sldMk cId="1349911159" sldId="272"/>
            <ac:spMk id="47" creationId="{9C202561-A6EA-461B-AF04-04AA34764024}"/>
          </ac:spMkLst>
        </pc:spChg>
        <pc:spChg chg="mod ord">
          <ac:chgData name="Alina D" userId="24a60029abdc116d" providerId="LiveId" clId="{B2B885B0-7DDD-40D5-9AC7-E0D47B22B6DA}" dt="2018-06-03T10:52:45.144" v="9333" actId="2696"/>
          <ac:spMkLst>
            <pc:docMk/>
            <pc:sldMk cId="1349911159" sldId="272"/>
            <ac:spMk id="48" creationId="{83C00352-1706-40C9-ACC7-FE4A41F501E5}"/>
          </ac:spMkLst>
        </pc:spChg>
        <pc:spChg chg="mod ord">
          <ac:chgData name="Alina D" userId="24a60029abdc116d" providerId="LiveId" clId="{B2B885B0-7DDD-40D5-9AC7-E0D47B22B6DA}" dt="2018-06-03T10:52:45.144" v="9334" actId="2696"/>
          <ac:spMkLst>
            <pc:docMk/>
            <pc:sldMk cId="1349911159" sldId="272"/>
            <ac:spMk id="50" creationId="{B3FE09C5-01C6-487C-8D43-71A342BB39A0}"/>
          </ac:spMkLst>
        </pc:spChg>
        <pc:spChg chg="mod ord">
          <ac:chgData name="Alina D" userId="24a60029abdc116d" providerId="LiveId" clId="{B2B885B0-7DDD-40D5-9AC7-E0D47B22B6DA}" dt="2018-06-03T10:52:45.145" v="9335" actId="2696"/>
          <ac:spMkLst>
            <pc:docMk/>
            <pc:sldMk cId="1349911159" sldId="272"/>
            <ac:spMk id="51" creationId="{21D67890-262E-4ECF-800C-1ECBD4041227}"/>
          </ac:spMkLst>
        </pc:spChg>
        <pc:cxnChg chg="del mod ord">
          <ac:chgData name="Alina D" userId="24a60029abdc116d" providerId="LiveId" clId="{B2B885B0-7DDD-40D5-9AC7-E0D47B22B6DA}" dt="2018-06-03T10:52:27.981" v="7707" actId="478"/>
          <ac:cxnSpMkLst>
            <pc:docMk/>
            <pc:sldMk cId="1349911159" sldId="272"/>
            <ac:cxnSpMk id="14" creationId="{789ABC35-66F2-4A46-8F1C-645EA2733904}"/>
          </ac:cxnSpMkLst>
        </pc:cxnChg>
        <pc:cxnChg chg="del mod ord">
          <ac:chgData name="Alina D" userId="24a60029abdc116d" providerId="LiveId" clId="{B2B885B0-7DDD-40D5-9AC7-E0D47B22B6DA}" dt="2018-06-03T10:52:27.981" v="7708" actId="478"/>
          <ac:cxnSpMkLst>
            <pc:docMk/>
            <pc:sldMk cId="1349911159" sldId="272"/>
            <ac:cxnSpMk id="15" creationId="{5F3810D2-989D-419A-893E-2870CD4ADD15}"/>
          </ac:cxnSpMkLst>
        </pc:cxnChg>
        <pc:cxnChg chg="del mod ord">
          <ac:chgData name="Alina D" userId="24a60029abdc116d" providerId="LiveId" clId="{B2B885B0-7DDD-40D5-9AC7-E0D47B22B6DA}" dt="2018-06-03T10:52:44.642" v="8786" actId="478"/>
          <ac:cxnSpMkLst>
            <pc:docMk/>
            <pc:sldMk cId="1349911159" sldId="272"/>
            <ac:cxnSpMk id="26" creationId="{D0AA6758-2465-4DE7-839D-CB3436198241}"/>
          </ac:cxnSpMkLst>
        </pc:cxnChg>
        <pc:cxnChg chg="del mod ord">
          <ac:chgData name="Alina D" userId="24a60029abdc116d" providerId="LiveId" clId="{B2B885B0-7DDD-40D5-9AC7-E0D47B22B6DA}" dt="2018-06-03T10:52:44.643" v="8787" actId="478"/>
          <ac:cxnSpMkLst>
            <pc:docMk/>
            <pc:sldMk cId="1349911159" sldId="272"/>
            <ac:cxnSpMk id="27" creationId="{F60469F3-CA8B-4A9C-8E19-14599785CB23}"/>
          </ac:cxnSpMkLst>
        </pc:cxnChg>
        <pc:cxnChg chg="del">
          <ac:chgData name="Alina D" userId="24a60029abdc116d" providerId="LiveId" clId="{B2B885B0-7DDD-40D5-9AC7-E0D47B22B6DA}" dt="2018-06-03T10:27:32.708" v="6341" actId="478"/>
          <ac:cxnSpMkLst>
            <pc:docMk/>
            <pc:sldMk cId="1349911159" sldId="272"/>
            <ac:cxnSpMk id="41" creationId="{7BB4FDCD-5A9C-45F5-B9A7-EBFCE545FAC4}"/>
          </ac:cxnSpMkLst>
        </pc:cxnChg>
        <pc:cxnChg chg="del">
          <ac:chgData name="Alina D" userId="24a60029abdc116d" providerId="LiveId" clId="{B2B885B0-7DDD-40D5-9AC7-E0D47B22B6DA}" dt="2018-06-03T10:27:32.708" v="6342" actId="478"/>
          <ac:cxnSpMkLst>
            <pc:docMk/>
            <pc:sldMk cId="1349911159" sldId="272"/>
            <ac:cxnSpMk id="42" creationId="{E45C7A47-92EE-4469-8DA4-A62215E01A01}"/>
          </ac:cxnSpMkLst>
        </pc:cxnChg>
        <pc:cxnChg chg="mod ord">
          <ac:chgData name="Alina D" userId="24a60029abdc116d" providerId="LiveId" clId="{B2B885B0-7DDD-40D5-9AC7-E0D47B22B6DA}" dt="2018-06-03T10:52:45.145" v="9336" actId="2696"/>
          <ac:cxnSpMkLst>
            <pc:docMk/>
            <pc:sldMk cId="1349911159" sldId="272"/>
            <ac:cxnSpMk id="52" creationId="{E3A59946-F769-45C9-A699-2ADF4261CA67}"/>
          </ac:cxnSpMkLst>
        </pc:cxnChg>
        <pc:cxnChg chg="mod ord">
          <ac:chgData name="Alina D" userId="24a60029abdc116d" providerId="LiveId" clId="{B2B885B0-7DDD-40D5-9AC7-E0D47B22B6DA}" dt="2018-06-03T10:52:45.145" v="9337" actId="2696"/>
          <ac:cxnSpMkLst>
            <pc:docMk/>
            <pc:sldMk cId="1349911159" sldId="272"/>
            <ac:cxnSpMk id="53" creationId="{E78A1F4A-FBFD-41F8-B31A-D28F70E305B3}"/>
          </ac:cxnSpMkLst>
        </pc:cxnChg>
      </pc:sldChg>
      <pc:sldChg chg="modSp modTransition modAnim">
        <pc:chgData name="Alina D" userId="24a60029abdc116d" providerId="LiveId" clId="{B2B885B0-7DDD-40D5-9AC7-E0D47B22B6DA}" dt="2018-05-26T11:58:56.136" v="4984" actId="20577"/>
        <pc:sldMkLst>
          <pc:docMk/>
          <pc:sldMk cId="2644856960" sldId="273"/>
        </pc:sldMkLst>
        <pc:spChg chg="mod">
          <ac:chgData name="Alina D" userId="24a60029abdc116d" providerId="LiveId" clId="{B2B885B0-7DDD-40D5-9AC7-E0D47B22B6DA}" dt="2018-05-26T07:32:27.920" v="3031" actId="20577"/>
          <ac:spMkLst>
            <pc:docMk/>
            <pc:sldMk cId="2644856960" sldId="273"/>
            <ac:spMk id="14" creationId="{AC98DFB0-13C7-4DFB-9987-F7D6B88596BD}"/>
          </ac:spMkLst>
        </pc:spChg>
      </pc:sldChg>
      <pc:sldChg chg="addSp delSp modSp modNotesTx">
        <pc:chgData name="Alina D" userId="24a60029abdc116d" providerId="LiveId" clId="{B2B885B0-7DDD-40D5-9AC7-E0D47B22B6DA}" dt="2018-05-26T07:41:50.688" v="3101" actId="20577"/>
        <pc:sldMkLst>
          <pc:docMk/>
          <pc:sldMk cId="1943199137" sldId="274"/>
        </pc:sldMkLst>
        <pc:spChg chg="del">
          <ac:chgData name="Alina D" userId="24a60029abdc116d" providerId="LiveId" clId="{B2B885B0-7DDD-40D5-9AC7-E0D47B22B6DA}" dt="2018-05-23T13:51:09.952" v="262" actId="478"/>
          <ac:spMkLst>
            <pc:docMk/>
            <pc:sldMk cId="1943199137" sldId="274"/>
            <ac:spMk id="2" creationId="{D4F740E2-7996-49DF-8F97-BB0212A3C7CE}"/>
          </ac:spMkLst>
        </pc:spChg>
        <pc:spChg chg="mod">
          <ac:chgData name="Alina D" userId="24a60029abdc116d" providerId="LiveId" clId="{B2B885B0-7DDD-40D5-9AC7-E0D47B22B6DA}" dt="2018-05-23T13:52:35.353" v="271" actId="1076"/>
          <ac:spMkLst>
            <pc:docMk/>
            <pc:sldMk cId="1943199137" sldId="274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5-26T07:41:11.191" v="3038" actId="113"/>
          <ac:spMkLst>
            <pc:docMk/>
            <pc:sldMk cId="1943199137" sldId="274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3:51:29.327" v="266" actId="113"/>
          <ac:spMkLst>
            <pc:docMk/>
            <pc:sldMk cId="1943199137" sldId="274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52.040" v="942" actId="20577"/>
          <ac:spMkLst>
            <pc:docMk/>
            <pc:sldMk cId="1943199137" sldId="274"/>
            <ac:spMk id="9" creationId="{73503C8F-150D-46D7-9F33-B88295FB14B5}"/>
          </ac:spMkLst>
        </pc:spChg>
        <pc:spChg chg="add mod">
          <ac:chgData name="Alina D" userId="24a60029abdc116d" providerId="LiveId" clId="{B2B885B0-7DDD-40D5-9AC7-E0D47B22B6DA}" dt="2018-05-23T13:58:01.223" v="291" actId="14100"/>
          <ac:spMkLst>
            <pc:docMk/>
            <pc:sldMk cId="1943199137" sldId="274"/>
            <ac:spMk id="14" creationId="{E99ECD04-47F0-463A-B05F-DB7CF51AB1BD}"/>
          </ac:spMkLst>
        </pc:spChg>
        <pc:grpChg chg="add">
          <ac:chgData name="Alina D" userId="24a60029abdc116d" providerId="LiveId" clId="{B2B885B0-7DDD-40D5-9AC7-E0D47B22B6DA}" dt="2018-05-23T13:51:10.610" v="263" actId="1038"/>
          <ac:grpSpMkLst>
            <pc:docMk/>
            <pc:sldMk cId="1943199137" sldId="274"/>
            <ac:grpSpMk id="6" creationId="{2334D767-2914-479B-9B10-1A33837FD56E}"/>
          </ac:grpSpMkLst>
        </pc:grpChg>
      </pc:sldChg>
      <pc:sldChg chg="addSp delSp modSp">
        <pc:chgData name="Alina D" userId="24a60029abdc116d" providerId="LiveId" clId="{B2B885B0-7DDD-40D5-9AC7-E0D47B22B6DA}" dt="2018-05-25T09:13:48.298" v="1719" actId="20577"/>
        <pc:sldMkLst>
          <pc:docMk/>
          <pc:sldMk cId="3057305974" sldId="285"/>
        </pc:sldMkLst>
        <pc:spChg chg="add del">
          <ac:chgData name="Alina D" userId="24a60029abdc116d" providerId="LiveId" clId="{B2B885B0-7DDD-40D5-9AC7-E0D47B22B6DA}" dt="2018-05-25T09:13:23.150" v="1706" actId="20577"/>
          <ac:spMkLst>
            <pc:docMk/>
            <pc:sldMk cId="3057305974" sldId="285"/>
            <ac:spMk id="2" creationId="{4F5109DB-E2E6-4E7B-B316-B9E2B79383A8}"/>
          </ac:spMkLst>
        </pc:spChg>
        <pc:spChg chg="add del">
          <ac:chgData name="Alina D" userId="24a60029abdc116d" providerId="LiveId" clId="{B2B885B0-7DDD-40D5-9AC7-E0D47B22B6DA}" dt="2018-05-25T09:13:32.470" v="1708" actId="20577"/>
          <ac:spMkLst>
            <pc:docMk/>
            <pc:sldMk cId="3057305974" sldId="285"/>
            <ac:spMk id="3" creationId="{9890DA24-0531-44F5-B501-0CCF18A149B1}"/>
          </ac:spMkLst>
        </pc:spChg>
        <pc:spChg chg="mod">
          <ac:chgData name="Alina D" userId="24a60029abdc116d" providerId="LiveId" clId="{B2B885B0-7DDD-40D5-9AC7-E0D47B22B6DA}" dt="2018-05-25T09:13:48.298" v="1719" actId="20577"/>
          <ac:spMkLst>
            <pc:docMk/>
            <pc:sldMk cId="3057305974" sldId="285"/>
            <ac:spMk id="6" creationId="{F42C1252-736C-4526-9554-1E305F509A2A}"/>
          </ac:spMkLst>
        </pc:spChg>
        <pc:picChg chg="add del">
          <ac:chgData name="Alina D" userId="24a60029abdc116d" providerId="LiveId" clId="{B2B885B0-7DDD-40D5-9AC7-E0D47B22B6DA}" dt="2018-05-25T09:13:23.150" v="1706" actId="20577"/>
          <ac:picMkLst>
            <pc:docMk/>
            <pc:sldMk cId="3057305974" sldId="285"/>
            <ac:picMk id="1026" creationId="{B143B638-2B4F-4B9C-B13D-CB90EED15315}"/>
          </ac:picMkLst>
        </pc:picChg>
        <pc:picChg chg="add del">
          <ac:chgData name="Alina D" userId="24a60029abdc116d" providerId="LiveId" clId="{B2B885B0-7DDD-40D5-9AC7-E0D47B22B6DA}" dt="2018-05-25T09:13:32.470" v="1708" actId="20577"/>
          <ac:picMkLst>
            <pc:docMk/>
            <pc:sldMk cId="3057305974" sldId="285"/>
            <ac:picMk id="1028" creationId="{EF02C1B9-CF99-453C-87CF-531345BE107F}"/>
          </ac:picMkLst>
        </pc:picChg>
      </pc:sldChg>
      <pc:sldChg chg="modSp modAnim">
        <pc:chgData name="Alina D" userId="24a60029abdc116d" providerId="LiveId" clId="{B2B885B0-7DDD-40D5-9AC7-E0D47B22B6DA}" dt="2018-05-27T18:49:59.376" v="5597" actId="20577"/>
        <pc:sldMkLst>
          <pc:docMk/>
          <pc:sldMk cId="3410100737" sldId="289"/>
        </pc:sldMkLst>
        <pc:spChg chg="mod">
          <ac:chgData name="Alina D" userId="24a60029abdc116d" providerId="LiveId" clId="{B2B885B0-7DDD-40D5-9AC7-E0D47B22B6DA}" dt="2018-05-27T18:49:59.376" v="5597" actId="20577"/>
          <ac:spMkLst>
            <pc:docMk/>
            <pc:sldMk cId="3410100737" sldId="289"/>
            <ac:spMk id="9" creationId="{84DA940E-C774-42B6-8815-F69DC1BD1366}"/>
          </ac:spMkLst>
        </pc:spChg>
      </pc:sldChg>
      <pc:sldChg chg="addSp delSp modSp modAnim modNotesTx">
        <pc:chgData name="Alina D" userId="24a60029abdc116d" providerId="LiveId" clId="{B2B885B0-7DDD-40D5-9AC7-E0D47B22B6DA}" dt="2018-06-01T09:16:52.856" v="5670" actId="20577"/>
        <pc:sldMkLst>
          <pc:docMk/>
          <pc:sldMk cId="3358404566" sldId="294"/>
        </pc:sldMkLst>
        <pc:spChg chg="mod">
          <ac:chgData name="Alina D" userId="24a60029abdc116d" providerId="LiveId" clId="{B2B885B0-7DDD-40D5-9AC7-E0D47B22B6DA}" dt="2018-06-01T09:16:52.856" v="5670" actId="20577"/>
          <ac:spMkLst>
            <pc:docMk/>
            <pc:sldMk cId="3358404566" sldId="294"/>
            <ac:spMk id="2" creationId="{9343AD66-9CE4-4154-90E4-98E1B187EE54}"/>
          </ac:spMkLst>
        </pc:spChg>
        <pc:spChg chg="mod">
          <ac:chgData name="Alina D" userId="24a60029abdc116d" providerId="LiveId" clId="{B2B885B0-7DDD-40D5-9AC7-E0D47B22B6DA}" dt="2018-05-26T08:11:31.613" v="3907" actId="27636"/>
          <ac:spMkLst>
            <pc:docMk/>
            <pc:sldMk cId="3358404566" sldId="294"/>
            <ac:spMk id="3" creationId="{F6279175-B184-4154-A218-322E28BE43CC}"/>
          </ac:spMkLst>
        </pc:spChg>
        <pc:spChg chg="add del mod">
          <ac:chgData name="Alina D" userId="24a60029abdc116d" providerId="LiveId" clId="{B2B885B0-7DDD-40D5-9AC7-E0D47B22B6DA}" dt="2018-05-26T08:10:58.030" v="3883" actId="20577"/>
          <ac:spMkLst>
            <pc:docMk/>
            <pc:sldMk cId="3358404566" sldId="294"/>
            <ac:spMk id="5" creationId="{F2697CF5-A58E-41F5-8EA0-BCF3BFBFE5F2}"/>
          </ac:spMkLst>
        </pc:spChg>
        <pc:spChg chg="add mod ord">
          <ac:chgData name="Alina D" userId="24a60029abdc116d" providerId="LiveId" clId="{B2B885B0-7DDD-40D5-9AC7-E0D47B22B6DA}" dt="2018-05-26T08:11:42.911" v="3909" actId="171"/>
          <ac:spMkLst>
            <pc:docMk/>
            <pc:sldMk cId="3358404566" sldId="294"/>
            <ac:spMk id="6" creationId="{A457816D-F272-47D5-8715-28BBFB2618BD}"/>
          </ac:spMkLst>
        </pc:spChg>
        <pc:spChg chg="mod topLvl">
          <ac:chgData name="Alina D" userId="24a60029abdc116d" providerId="LiveId" clId="{B2B885B0-7DDD-40D5-9AC7-E0D47B22B6DA}" dt="2018-05-26T08:33:57.236" v="4669" actId="20577"/>
          <ac:spMkLst>
            <pc:docMk/>
            <pc:sldMk cId="3358404566" sldId="294"/>
            <ac:spMk id="8" creationId="{AF00B2DE-BECD-40D0-8D7A-AA8A8D9275DF}"/>
          </ac:spMkLst>
        </pc:spChg>
        <pc:spChg chg="mod topLvl">
          <ac:chgData name="Alina D" userId="24a60029abdc116d" providerId="LiveId" clId="{B2B885B0-7DDD-40D5-9AC7-E0D47B22B6DA}" dt="2018-05-26T08:14:09.686" v="3912" actId="1076"/>
          <ac:spMkLst>
            <pc:docMk/>
            <pc:sldMk cId="3358404566" sldId="294"/>
            <ac:spMk id="9" creationId="{3CD75661-7563-4B95-BA63-3940192647CF}"/>
          </ac:spMkLst>
        </pc:spChg>
        <pc:spChg chg="mod topLvl">
          <ac:chgData name="Alina D" userId="24a60029abdc116d" providerId="LiveId" clId="{B2B885B0-7DDD-40D5-9AC7-E0D47B22B6DA}" dt="2018-05-26T08:14:32.186" v="3917" actId="5793"/>
          <ac:spMkLst>
            <pc:docMk/>
            <pc:sldMk cId="3358404566" sldId="294"/>
            <ac:spMk id="10" creationId="{2DCCD0FA-5CDD-463B-A700-24DC75099158}"/>
          </ac:spMkLst>
        </pc:spChg>
        <pc:spChg chg="mod topLvl">
          <ac:chgData name="Alina D" userId="24a60029abdc116d" providerId="LiveId" clId="{B2B885B0-7DDD-40D5-9AC7-E0D47B22B6DA}" dt="2018-05-26T08:14:09.686" v="3912" actId="1076"/>
          <ac:spMkLst>
            <pc:docMk/>
            <pc:sldMk cId="3358404566" sldId="294"/>
            <ac:spMk id="11" creationId="{74526DBD-6363-423B-B520-61365CA20039}"/>
          </ac:spMkLst>
        </pc:spChg>
        <pc:spChg chg="mod topLvl">
          <ac:chgData name="Alina D" userId="24a60029abdc116d" providerId="LiveId" clId="{B2B885B0-7DDD-40D5-9AC7-E0D47B22B6DA}" dt="2018-05-26T08:14:36.582" v="3920" actId="20577"/>
          <ac:spMkLst>
            <pc:docMk/>
            <pc:sldMk cId="3358404566" sldId="294"/>
            <ac:spMk id="12" creationId="{D51D3D9A-FB83-41AD-86C8-5A45B0A37EDB}"/>
          </ac:spMkLst>
        </pc:spChg>
        <pc:spChg chg="add mod">
          <ac:chgData name="Alina D" userId="24a60029abdc116d" providerId="LiveId" clId="{B2B885B0-7DDD-40D5-9AC7-E0D47B22B6DA}" dt="2018-05-25T09:20:58.988" v="1930" actId="1035"/>
          <ac:spMkLst>
            <pc:docMk/>
            <pc:sldMk cId="3358404566" sldId="294"/>
            <ac:spMk id="13" creationId="{674A35CE-233A-4966-8352-900DA6A7569A}"/>
          </ac:spMkLst>
        </pc:spChg>
        <pc:grpChg chg="del mod">
          <ac:chgData name="Alina D" userId="24a60029abdc116d" providerId="LiveId" clId="{B2B885B0-7DDD-40D5-9AC7-E0D47B22B6DA}" dt="2018-05-25T09:19:21.659" v="1837" actId="165"/>
          <ac:grpSpMkLst>
            <pc:docMk/>
            <pc:sldMk cId="3358404566" sldId="294"/>
            <ac:grpSpMk id="7" creationId="{BB3AC66F-67EF-481F-B332-89E8B484EC25}"/>
          </ac:grpSpMkLst>
        </pc:grpChg>
        <pc:graphicFrameChg chg="add del mod">
          <ac:chgData name="Alina D" userId="24a60029abdc116d" providerId="LiveId" clId="{B2B885B0-7DDD-40D5-9AC7-E0D47B22B6DA}" dt="2018-05-25T09:19:14.579" v="1836" actId="18245"/>
          <ac:graphicFrameMkLst>
            <pc:docMk/>
            <pc:sldMk cId="3358404566" sldId="294"/>
            <ac:graphicFrameMk id="6" creationId="{E3073A14-4B38-414A-8303-764FEFEC6D12}"/>
          </ac:graphicFrameMkLst>
        </pc:graphicFrameChg>
        <pc:picChg chg="add del">
          <ac:chgData name="Alina D" userId="24a60029abdc116d" providerId="LiveId" clId="{B2B885B0-7DDD-40D5-9AC7-E0D47B22B6DA}" dt="2018-05-25T09:12:15.208" v="1637" actId="6549"/>
          <ac:picMkLst>
            <pc:docMk/>
            <pc:sldMk cId="3358404566" sldId="294"/>
            <ac:picMk id="5" creationId="{765A9787-9385-489F-8970-E04B747A631E}"/>
          </ac:picMkLst>
        </pc:picChg>
      </pc:sldChg>
      <pc:sldChg chg="addSp delSp modSp ord modNotesTx">
        <pc:chgData name="Alina D" userId="24a60029abdc116d" providerId="LiveId" clId="{B2B885B0-7DDD-40D5-9AC7-E0D47B22B6DA}" dt="2018-05-26T12:00:36.816" v="5020" actId="20577"/>
        <pc:sldMkLst>
          <pc:docMk/>
          <pc:sldMk cId="445956246" sldId="295"/>
        </pc:sldMkLst>
        <pc:spChg chg="mod">
          <ac:chgData name="Alina D" userId="24a60029abdc116d" providerId="LiveId" clId="{B2B885B0-7DDD-40D5-9AC7-E0D47B22B6DA}" dt="2018-05-26T08:07:30.853" v="3828" actId="20577"/>
          <ac:spMkLst>
            <pc:docMk/>
            <pc:sldMk cId="445956246" sldId="295"/>
            <ac:spMk id="3" creationId="{5E7AE16A-6E67-45AD-A3F4-6B133C37F671}"/>
          </ac:spMkLst>
        </pc:spChg>
        <pc:spChg chg="mod">
          <ac:chgData name="Alina D" userId="24a60029abdc116d" providerId="LiveId" clId="{B2B885B0-7DDD-40D5-9AC7-E0D47B22B6DA}" dt="2018-05-25T09:26:10.596" v="2086" actId="208"/>
          <ac:spMkLst>
            <pc:docMk/>
            <pc:sldMk cId="445956246" sldId="295"/>
            <ac:spMk id="8" creationId="{83306346-6B43-4A96-8FE1-5AB19F66A18B}"/>
          </ac:spMkLst>
        </pc:spChg>
        <pc:spChg chg="mod">
          <ac:chgData name="Alina D" userId="24a60029abdc116d" providerId="LiveId" clId="{B2B885B0-7DDD-40D5-9AC7-E0D47B22B6DA}" dt="2018-05-25T09:26:03.261" v="2084" actId="208"/>
          <ac:spMkLst>
            <pc:docMk/>
            <pc:sldMk cId="445956246" sldId="295"/>
            <ac:spMk id="9" creationId="{25CE1FB1-EAC3-4E5B-B326-2981BFEC4B26}"/>
          </ac:spMkLst>
        </pc:spChg>
        <pc:spChg chg="mod">
          <ac:chgData name="Alina D" userId="24a60029abdc116d" providerId="LiveId" clId="{B2B885B0-7DDD-40D5-9AC7-E0D47B22B6DA}" dt="2018-05-25T09:28:39.173" v="2130" actId="1076"/>
          <ac:spMkLst>
            <pc:docMk/>
            <pc:sldMk cId="445956246" sldId="295"/>
            <ac:spMk id="10" creationId="{F1C9AF19-D1AB-4321-B130-BD0ABEA9F1FD}"/>
          </ac:spMkLst>
        </pc:spChg>
        <pc:spChg chg="add mo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20" creationId="{D39A6A0D-01FB-48B7-9792-BB29E40661B1}"/>
          </ac:spMkLst>
        </pc:spChg>
        <pc:spChg chg="add del mod">
          <ac:chgData name="Alina D" userId="24a60029abdc116d" providerId="LiveId" clId="{B2B885B0-7DDD-40D5-9AC7-E0D47B22B6DA}" dt="2018-05-25T09:26:45.764" v="2093" actId="478"/>
          <ac:spMkLst>
            <pc:docMk/>
            <pc:sldMk cId="445956246" sldId="295"/>
            <ac:spMk id="21" creationId="{5C7C1807-FBA6-41BE-9BF1-E332220095AC}"/>
          </ac:spMkLst>
        </pc:spChg>
        <pc:spChg chg="add mod or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22" creationId="{9C6D4B81-032A-4F48-AB26-2E353C54FC72}"/>
          </ac:spMkLst>
        </pc:spChg>
        <pc:spChg chg="add mo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43" creationId="{4C942DE9-C1AB-4651-A4BB-D9C5C126AE22}"/>
          </ac:spMkLst>
        </pc:spChg>
        <pc:spChg chg="add mo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44" creationId="{AFD2006A-1A28-4063-8B42-4CE30C239579}"/>
          </ac:spMkLst>
        </pc:spChg>
        <pc:spChg chg="add mod">
          <ac:chgData name="Alina D" userId="24a60029abdc116d" providerId="LiveId" clId="{B2B885B0-7DDD-40D5-9AC7-E0D47B22B6DA}" dt="2018-05-26T12:00:36.816" v="5020" actId="20577"/>
          <ac:spMkLst>
            <pc:docMk/>
            <pc:sldMk cId="445956246" sldId="295"/>
            <ac:spMk id="46" creationId="{53D022A4-879F-4DD3-8AC2-A470880D166D}"/>
          </ac:spMkLst>
        </pc:spChg>
        <pc:grpChg chg="add mod">
          <ac:chgData name="Alina D" userId="24a60029abdc116d" providerId="LiveId" clId="{B2B885B0-7DDD-40D5-9AC7-E0D47B22B6DA}" dt="2018-05-25T09:29:46.599" v="2178" actId="164"/>
          <ac:grpSpMkLst>
            <pc:docMk/>
            <pc:sldMk cId="445956246" sldId="295"/>
            <ac:grpSpMk id="5" creationId="{38403837-65D6-4540-8D77-211D510F503B}"/>
          </ac:grpSpMkLst>
        </pc:grpChg>
        <pc:grpChg chg="add mod">
          <ac:chgData name="Alina D" userId="24a60029abdc116d" providerId="LiveId" clId="{B2B885B0-7DDD-40D5-9AC7-E0D47B22B6DA}" dt="2018-05-26T08:07:02.388" v="3821" actId="1076"/>
          <ac:grpSpMkLst>
            <pc:docMk/>
            <pc:sldMk cId="445956246" sldId="295"/>
            <ac:grpSpMk id="45" creationId="{67352ECA-F9DD-4DB5-9CDC-6FC58ED117DC}"/>
          </ac:grpSpMkLst>
        </pc:grpChg>
        <pc:cxnChg chg="mod ord">
          <ac:chgData name="Alina D" userId="24a60029abdc116d" providerId="LiveId" clId="{B2B885B0-7DDD-40D5-9AC7-E0D47B22B6DA}" dt="2018-05-25T09:28:35.356" v="2129" actId="1076"/>
          <ac:cxnSpMkLst>
            <pc:docMk/>
            <pc:sldMk cId="445956246" sldId="295"/>
            <ac:cxnSpMk id="11" creationId="{E86D4E9F-EAF6-47A3-B797-78E26038F531}"/>
          </ac:cxnSpMkLst>
        </pc:cxnChg>
        <pc:cxnChg chg="mod ord">
          <ac:chgData name="Alina D" userId="24a60029abdc116d" providerId="LiveId" clId="{B2B885B0-7DDD-40D5-9AC7-E0D47B22B6DA}" dt="2018-05-25T09:28:35.356" v="2129" actId="1076"/>
          <ac:cxnSpMkLst>
            <pc:docMk/>
            <pc:sldMk cId="445956246" sldId="295"/>
            <ac:cxnSpMk id="12" creationId="{03961140-5DBB-44A4-A0AF-B6F680B7F554}"/>
          </ac:cxnSpMkLst>
        </pc:cxnChg>
        <pc:cxnChg chg="mod">
          <ac:chgData name="Alina D" userId="24a60029abdc116d" providerId="LiveId" clId="{B2B885B0-7DDD-40D5-9AC7-E0D47B22B6DA}" dt="2018-05-25T09:28:35.356" v="2129" actId="1076"/>
          <ac:cxnSpMkLst>
            <pc:docMk/>
            <pc:sldMk cId="445956246" sldId="295"/>
            <ac:cxnSpMk id="13" creationId="{E9FD619B-4C27-4D34-85CA-4862E5BA554E}"/>
          </ac:cxnSpMkLst>
        </pc:cxnChg>
        <pc:cxnChg chg="add mod">
          <ac:chgData name="Alina D" userId="24a60029abdc116d" providerId="LiveId" clId="{B2B885B0-7DDD-40D5-9AC7-E0D47B22B6DA}" dt="2018-05-25T09:29:46.599" v="2178" actId="164"/>
          <ac:cxnSpMkLst>
            <pc:docMk/>
            <pc:sldMk cId="445956246" sldId="295"/>
            <ac:cxnSpMk id="26" creationId="{918454F9-5E5E-4475-9822-210116155277}"/>
          </ac:cxnSpMkLst>
        </pc:cxnChg>
        <pc:cxnChg chg="add mod">
          <ac:chgData name="Alina D" userId="24a60029abdc116d" providerId="LiveId" clId="{B2B885B0-7DDD-40D5-9AC7-E0D47B22B6DA}" dt="2018-05-25T09:29:46.599" v="2178" actId="164"/>
          <ac:cxnSpMkLst>
            <pc:docMk/>
            <pc:sldMk cId="445956246" sldId="295"/>
            <ac:cxnSpMk id="31" creationId="{A8882596-B5C1-4E75-A269-1786776E8705}"/>
          </ac:cxnSpMkLst>
        </pc:cxnChg>
      </pc:sldChg>
      <pc:sldChg chg="addSp modSp modAnim">
        <pc:chgData name="Alina D" userId="24a60029abdc116d" providerId="LiveId" clId="{B2B885B0-7DDD-40D5-9AC7-E0D47B22B6DA}" dt="2018-05-27T19:02:39.821" v="5607" actId="20577"/>
        <pc:sldMkLst>
          <pc:docMk/>
          <pc:sldMk cId="610802918" sldId="296"/>
        </pc:sldMkLst>
        <pc:spChg chg="mod">
          <ac:chgData name="Alina D" userId="24a60029abdc116d" providerId="LiveId" clId="{B2B885B0-7DDD-40D5-9AC7-E0D47B22B6DA}" dt="2018-05-27T19:02:39.821" v="5607" actId="20577"/>
          <ac:spMkLst>
            <pc:docMk/>
            <pc:sldMk cId="610802918" sldId="296"/>
            <ac:spMk id="3" creationId="{963408C1-BE8A-41BC-83CC-678C213E8B8A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5" creationId="{615DE648-327B-4DAF-A765-32E668C20674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6" creationId="{7719E520-CBC4-46ED-8E76-CBC914D3E8D7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7" creationId="{D7A09641-8676-4918-8490-D9A5199E65F3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8" creationId="{01CB4068-D88D-4FA6-A493-67A9AC8AB921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9" creationId="{75CC6CF6-891F-46BA-AC77-3C970DA6FE82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10" creationId="{A8D927F0-BCC1-49B1-B128-CBAC5B12051A}"/>
          </ac:spMkLst>
        </pc:spChg>
        <pc:spChg chg="add mod">
          <ac:chgData name="Alina D" userId="24a60029abdc116d" providerId="LiveId" clId="{B2B885B0-7DDD-40D5-9AC7-E0D47B22B6DA}" dt="2018-05-27T19:02:21.492" v="5605" actId="20577"/>
          <ac:spMkLst>
            <pc:docMk/>
            <pc:sldMk cId="610802918" sldId="296"/>
            <ac:spMk id="11" creationId="{52BC4F3B-1E49-4732-8B56-CD5001334BF9}"/>
          </ac:spMkLst>
        </pc:spChg>
      </pc:sldChg>
      <pc:sldChg chg="addSp delSp modSp ord modAnim">
        <pc:chgData name="Alina D" userId="24a60029abdc116d" providerId="LiveId" clId="{B2B885B0-7DDD-40D5-9AC7-E0D47B22B6DA}" dt="2018-06-03T10:52:13.282" v="7188" actId="2696"/>
        <pc:sldMkLst>
          <pc:docMk/>
          <pc:sldMk cId="2865056336" sldId="298"/>
        </pc:sldMkLst>
        <pc:spChg chg="mod">
          <ac:chgData name="Alina D" userId="24a60029abdc116d" providerId="LiveId" clId="{B2B885B0-7DDD-40D5-9AC7-E0D47B22B6DA}" dt="2018-05-27T19:04:36.554" v="5656" actId="20577"/>
          <ac:spMkLst>
            <pc:docMk/>
            <pc:sldMk cId="2865056336" sldId="298"/>
            <ac:spMk id="3" creationId="{57136F48-BD58-4110-A5DC-548777B9DC70}"/>
          </ac:spMkLst>
        </pc:spChg>
        <pc:spChg chg="mod topLvl">
          <ac:chgData name="Alina D" userId="24a60029abdc116d" providerId="LiveId" clId="{B2B885B0-7DDD-40D5-9AC7-E0D47B22B6DA}" dt="2018-05-25T09:53:14.537" v="2940" actId="113"/>
          <ac:spMkLst>
            <pc:docMk/>
            <pc:sldMk cId="2865056336" sldId="298"/>
            <ac:spMk id="7" creationId="{D07E6D37-3084-4DFA-B4B4-C32F635AB366}"/>
          </ac:spMkLst>
        </pc:spChg>
        <pc:spChg chg="del">
          <ac:chgData name="Alina D" userId="24a60029abdc116d" providerId="LiveId" clId="{B2B885B0-7DDD-40D5-9AC7-E0D47B22B6DA}" dt="2018-05-25T09:50:44.893" v="2783" actId="478"/>
          <ac:spMkLst>
            <pc:docMk/>
            <pc:sldMk cId="2865056336" sldId="298"/>
            <ac:spMk id="8" creationId="{A58B170D-C34C-43AC-888B-458C933E4ECE}"/>
          </ac:spMkLst>
        </pc:spChg>
        <pc:spChg chg="mod topLvl">
          <ac:chgData name="Alina D" userId="24a60029abdc116d" providerId="LiveId" clId="{B2B885B0-7DDD-40D5-9AC7-E0D47B22B6DA}" dt="2018-05-25T09:51:25.691" v="2850" actId="20577"/>
          <ac:spMkLst>
            <pc:docMk/>
            <pc:sldMk cId="2865056336" sldId="298"/>
            <ac:spMk id="9" creationId="{88215574-2BE0-4774-803D-9929E41D92BF}"/>
          </ac:spMkLst>
        </pc:spChg>
        <pc:spChg chg="mod topLvl">
          <ac:chgData name="Alina D" userId="24a60029abdc116d" providerId="LiveId" clId="{B2B885B0-7DDD-40D5-9AC7-E0D47B22B6DA}" dt="2018-05-25T09:53:16.496" v="2941" actId="113"/>
          <ac:spMkLst>
            <pc:docMk/>
            <pc:sldMk cId="2865056336" sldId="298"/>
            <ac:spMk id="10" creationId="{563A1304-AD9A-4218-9556-781378BD6AFB}"/>
          </ac:spMkLst>
        </pc:spChg>
        <pc:spChg chg="del">
          <ac:chgData name="Alina D" userId="24a60029abdc116d" providerId="LiveId" clId="{B2B885B0-7DDD-40D5-9AC7-E0D47B22B6DA}" dt="2018-05-25T09:50:46.381" v="2784" actId="478"/>
          <ac:spMkLst>
            <pc:docMk/>
            <pc:sldMk cId="2865056336" sldId="298"/>
            <ac:spMk id="11" creationId="{5428060F-D548-49B9-8669-C2461D630642}"/>
          </ac:spMkLst>
        </pc:spChg>
        <pc:spChg chg="add">
          <ac:chgData name="Alina D" userId="24a60029abdc116d" providerId="LiveId" clId="{B2B885B0-7DDD-40D5-9AC7-E0D47B22B6DA}" dt="2018-05-25T09:50:30.270" v="2780" actId="114"/>
          <ac:spMkLst>
            <pc:docMk/>
            <pc:sldMk cId="2865056336" sldId="298"/>
            <ac:spMk id="12" creationId="{6E703796-2C9B-4428-A6F7-94C0B83ABD17}"/>
          </ac:spMkLst>
        </pc:spChg>
        <pc:spChg chg="add mod">
          <ac:chgData name="Alina D" userId="24a60029abdc116d" providerId="LiveId" clId="{B2B885B0-7DDD-40D5-9AC7-E0D47B22B6DA}" dt="2018-05-25T09:54:48.740" v="3006" actId="1076"/>
          <ac:spMkLst>
            <pc:docMk/>
            <pc:sldMk cId="2865056336" sldId="298"/>
            <ac:spMk id="13" creationId="{4FC9E4B6-11CE-4379-9E17-F38397EB60A8}"/>
          </ac:spMkLst>
        </pc:spChg>
        <pc:spChg chg="add mod">
          <ac:chgData name="Alina D" userId="24a60029abdc116d" providerId="LiveId" clId="{B2B885B0-7DDD-40D5-9AC7-E0D47B22B6DA}" dt="2018-05-25T09:54:51.669" v="3007" actId="114"/>
          <ac:spMkLst>
            <pc:docMk/>
            <pc:sldMk cId="2865056336" sldId="298"/>
            <ac:spMk id="14" creationId="{2C5334B0-E32F-4C43-BD4D-F674E2D784E6}"/>
          </ac:spMkLst>
        </pc:spChg>
        <pc:grpChg chg="add del">
          <ac:chgData name="Alina D" userId="24a60029abdc116d" providerId="LiveId" clId="{B2B885B0-7DDD-40D5-9AC7-E0D47B22B6DA}" dt="2018-05-25T09:51:09.068" v="2787" actId="165"/>
          <ac:grpSpMkLst>
            <pc:docMk/>
            <pc:sldMk cId="2865056336" sldId="298"/>
            <ac:grpSpMk id="5" creationId="{029B0F63-B521-4C88-AA0D-0D54C772C4F9}"/>
          </ac:grpSpMkLst>
        </pc:grpChg>
        <pc:cxnChg chg="del mod">
          <ac:chgData name="Alina D" userId="24a60029abdc116d" providerId="LiveId" clId="{B2B885B0-7DDD-40D5-9AC7-E0D47B22B6DA}" dt="2018-05-25T09:50:47.866" v="2785" actId="478"/>
          <ac:cxnSpMkLst>
            <pc:docMk/>
            <pc:sldMk cId="2865056336" sldId="298"/>
            <ac:cxnSpMk id="6" creationId="{B2394054-2AAB-4430-885C-8D6B4E315AD5}"/>
          </ac:cxnSpMkLst>
        </pc:cxnChg>
      </pc:sldChg>
      <pc:sldChg chg="modSp">
        <pc:chgData name="Alina D" userId="24a60029abdc116d" providerId="LiveId" clId="{B2B885B0-7DDD-40D5-9AC7-E0D47B22B6DA}" dt="2018-05-27T13:27:11.313" v="5083" actId="20577"/>
        <pc:sldMkLst>
          <pc:docMk/>
          <pc:sldMk cId="3633354373" sldId="302"/>
        </pc:sldMkLst>
        <pc:spChg chg="mod">
          <ac:chgData name="Alina D" userId="24a60029abdc116d" providerId="LiveId" clId="{B2B885B0-7DDD-40D5-9AC7-E0D47B22B6DA}" dt="2018-05-27T13:27:11.313" v="5083" actId="20577"/>
          <ac:spMkLst>
            <pc:docMk/>
            <pc:sldMk cId="3633354373" sldId="302"/>
            <ac:spMk id="3" creationId="{79164DF6-B5C8-4A9E-9CFB-C2AFAFD423FA}"/>
          </ac:spMkLst>
        </pc:spChg>
      </pc:sldChg>
      <pc:sldChg chg="addSp modSp">
        <pc:chgData name="Alina D" userId="24a60029abdc116d" providerId="LiveId" clId="{B2B885B0-7DDD-40D5-9AC7-E0D47B22B6DA}" dt="2018-05-23T13:41:53.590" v="159" actId="208"/>
        <pc:sldMkLst>
          <pc:docMk/>
          <pc:sldMk cId="2809265874" sldId="303"/>
        </pc:sldMkLst>
        <pc:spChg chg="mod">
          <ac:chgData name="Alina D" userId="24a60029abdc116d" providerId="LiveId" clId="{B2B885B0-7DDD-40D5-9AC7-E0D47B22B6DA}" dt="2018-05-23T13:40:03.858" v="149" actId="14100"/>
          <ac:spMkLst>
            <pc:docMk/>
            <pc:sldMk cId="2809265874" sldId="303"/>
            <ac:spMk id="3" creationId="{F8F51602-BE1F-4BEE-885E-2A47ADED8FF5}"/>
          </ac:spMkLst>
        </pc:spChg>
        <pc:spChg chg="add mod">
          <ac:chgData name="Alina D" userId="24a60029abdc116d" providerId="LiveId" clId="{B2B885B0-7DDD-40D5-9AC7-E0D47B22B6DA}" dt="2018-05-23T13:39:06.104" v="141" actId="164"/>
          <ac:spMkLst>
            <pc:docMk/>
            <pc:sldMk cId="2809265874" sldId="303"/>
            <ac:spMk id="5" creationId="{C7BCB19B-B96B-477F-93B9-856CF3BA1718}"/>
          </ac:spMkLst>
        </pc:spChg>
        <pc:spChg chg="add mod">
          <ac:chgData name="Alina D" userId="24a60029abdc116d" providerId="LiveId" clId="{B2B885B0-7DDD-40D5-9AC7-E0D47B22B6DA}" dt="2018-05-23T13:39:06.104" v="141" actId="164"/>
          <ac:spMkLst>
            <pc:docMk/>
            <pc:sldMk cId="2809265874" sldId="303"/>
            <ac:spMk id="6" creationId="{1B27C537-5345-45E1-B6EA-ABFF5B1EC4A4}"/>
          </ac:spMkLst>
        </pc:spChg>
        <pc:spChg chg="add mod">
          <ac:chgData name="Alina D" userId="24a60029abdc116d" providerId="LiveId" clId="{B2B885B0-7DDD-40D5-9AC7-E0D47B22B6DA}" dt="2018-05-23T13:39:14.253" v="144" actId="164"/>
          <ac:spMkLst>
            <pc:docMk/>
            <pc:sldMk cId="2809265874" sldId="303"/>
            <ac:spMk id="7" creationId="{5144D251-9F68-44E1-8D83-13765D41869E}"/>
          </ac:spMkLst>
        </pc:spChg>
        <pc:spChg chg="add mod">
          <ac:chgData name="Alina D" userId="24a60029abdc116d" providerId="LiveId" clId="{B2B885B0-7DDD-40D5-9AC7-E0D47B22B6DA}" dt="2018-05-23T13:39:06.104" v="141" actId="164"/>
          <ac:spMkLst>
            <pc:docMk/>
            <pc:sldMk cId="2809265874" sldId="303"/>
            <ac:spMk id="8" creationId="{6E68E421-132C-4E59-AC04-94DBC6E7F8EB}"/>
          </ac:spMkLst>
        </pc:spChg>
        <pc:spChg chg="add mod">
          <ac:chgData name="Alina D" userId="24a60029abdc116d" providerId="LiveId" clId="{B2B885B0-7DDD-40D5-9AC7-E0D47B22B6DA}" dt="2018-05-23T13:39:27.999" v="145" actId="164"/>
          <ac:spMkLst>
            <pc:docMk/>
            <pc:sldMk cId="2809265874" sldId="303"/>
            <ac:spMk id="29" creationId="{DDED4BD4-4E12-4ACE-B967-7F00F9E16E95}"/>
          </ac:spMkLst>
        </pc:spChg>
        <pc:spChg chg="add mod">
          <ac:chgData name="Alina D" userId="24a60029abdc116d" providerId="LiveId" clId="{B2B885B0-7DDD-40D5-9AC7-E0D47B22B6DA}" dt="2018-05-23T13:39:27.999" v="145" actId="164"/>
          <ac:spMkLst>
            <pc:docMk/>
            <pc:sldMk cId="2809265874" sldId="303"/>
            <ac:spMk id="30" creationId="{11F6F8DF-F28C-4C1A-B13B-AAE42D2D7DD6}"/>
          </ac:spMkLst>
        </pc:spChg>
        <pc:spChg chg="add mod">
          <ac:chgData name="Alina D" userId="24a60029abdc116d" providerId="LiveId" clId="{B2B885B0-7DDD-40D5-9AC7-E0D47B22B6DA}" dt="2018-05-23T13:39:27.999" v="145" actId="164"/>
          <ac:spMkLst>
            <pc:docMk/>
            <pc:sldMk cId="2809265874" sldId="303"/>
            <ac:spMk id="31" creationId="{BA974C01-C8BF-46F9-B515-6696B90ACBF3}"/>
          </ac:spMkLst>
        </pc:spChg>
        <pc:spChg chg="add mod">
          <ac:chgData name="Alina D" userId="24a60029abdc116d" providerId="LiveId" clId="{B2B885B0-7DDD-40D5-9AC7-E0D47B22B6DA}" dt="2018-05-23T13:41:53.590" v="159" actId="208"/>
          <ac:spMkLst>
            <pc:docMk/>
            <pc:sldMk cId="2809265874" sldId="303"/>
            <ac:spMk id="32" creationId="{ADFAFD04-328F-46C4-A91C-5216C209B914}"/>
          </ac:spMkLst>
        </pc:spChg>
        <pc:grpChg chg="add mod">
          <ac:chgData name="Alina D" userId="24a60029abdc116d" providerId="LiveId" clId="{B2B885B0-7DDD-40D5-9AC7-E0D47B22B6DA}" dt="2018-05-23T13:39:14.253" v="144" actId="164"/>
          <ac:grpSpMkLst>
            <pc:docMk/>
            <pc:sldMk cId="2809265874" sldId="303"/>
            <ac:grpSpMk id="38" creationId="{53D768FA-8A08-4C68-A057-E7578970213A}"/>
          </ac:grpSpMkLst>
        </pc:grpChg>
        <pc:grpChg chg="add mod">
          <ac:chgData name="Alina D" userId="24a60029abdc116d" providerId="LiveId" clId="{B2B885B0-7DDD-40D5-9AC7-E0D47B22B6DA}" dt="2018-05-23T13:40:08.373" v="150" actId="1076"/>
          <ac:grpSpMkLst>
            <pc:docMk/>
            <pc:sldMk cId="2809265874" sldId="303"/>
            <ac:grpSpMk id="40" creationId="{823622F4-0E1B-4525-8FAD-A76B54604DEB}"/>
          </ac:grpSpMkLst>
        </pc:grpChg>
        <pc:grpChg chg="add mod">
          <ac:chgData name="Alina D" userId="24a60029abdc116d" providerId="LiveId" clId="{B2B885B0-7DDD-40D5-9AC7-E0D47B22B6DA}" dt="2018-05-23T13:40:12.348" v="151" actId="1076"/>
          <ac:grpSpMkLst>
            <pc:docMk/>
            <pc:sldMk cId="2809265874" sldId="303"/>
            <ac:grpSpMk id="41" creationId="{83BB8AB0-28DD-4E70-BEB3-F574781701F0}"/>
          </ac:grpSpMkLst>
        </pc:grpChg>
        <pc:cxnChg chg="add mod">
          <ac:chgData name="Alina D" userId="24a60029abdc116d" providerId="LiveId" clId="{B2B885B0-7DDD-40D5-9AC7-E0D47B22B6DA}" dt="2018-05-23T13:39:06.104" v="141" actId="164"/>
          <ac:cxnSpMkLst>
            <pc:docMk/>
            <pc:sldMk cId="2809265874" sldId="303"/>
            <ac:cxnSpMk id="10" creationId="{58468EB8-D789-480B-A57B-D9E8FDBCD0D9}"/>
          </ac:cxnSpMkLst>
        </pc:cxnChg>
        <pc:cxnChg chg="add mod">
          <ac:chgData name="Alina D" userId="24a60029abdc116d" providerId="LiveId" clId="{B2B885B0-7DDD-40D5-9AC7-E0D47B22B6DA}" dt="2018-05-23T13:39:06.104" v="141" actId="164"/>
          <ac:cxnSpMkLst>
            <pc:docMk/>
            <pc:sldMk cId="2809265874" sldId="303"/>
            <ac:cxnSpMk id="11" creationId="{296D40BF-5882-4CA5-B9CA-CF2322DD044B}"/>
          </ac:cxnSpMkLst>
        </pc:cxnChg>
        <pc:cxnChg chg="add mod">
          <ac:chgData name="Alina D" userId="24a60029abdc116d" providerId="LiveId" clId="{B2B885B0-7DDD-40D5-9AC7-E0D47B22B6DA}" dt="2018-05-23T13:39:06.104" v="141" actId="164"/>
          <ac:cxnSpMkLst>
            <pc:docMk/>
            <pc:sldMk cId="2809265874" sldId="303"/>
            <ac:cxnSpMk id="15" creationId="{703C8A72-46D7-460B-8068-F117CE13B43B}"/>
          </ac:cxnSpMkLst>
        </pc:cxnChg>
        <pc:cxnChg chg="add mod">
          <ac:chgData name="Alina D" userId="24a60029abdc116d" providerId="LiveId" clId="{B2B885B0-7DDD-40D5-9AC7-E0D47B22B6DA}" dt="2018-05-23T13:39:27.999" v="145" actId="164"/>
          <ac:cxnSpMkLst>
            <pc:docMk/>
            <pc:sldMk cId="2809265874" sldId="303"/>
            <ac:cxnSpMk id="33" creationId="{742A3E59-D0F5-4760-BC0E-9E9D8CCDE391}"/>
          </ac:cxnSpMkLst>
        </pc:cxnChg>
        <pc:cxnChg chg="add mod">
          <ac:chgData name="Alina D" userId="24a60029abdc116d" providerId="LiveId" clId="{B2B885B0-7DDD-40D5-9AC7-E0D47B22B6DA}" dt="2018-05-23T13:39:27.999" v="145" actId="164"/>
          <ac:cxnSpMkLst>
            <pc:docMk/>
            <pc:sldMk cId="2809265874" sldId="303"/>
            <ac:cxnSpMk id="34" creationId="{19F91351-EBBA-49EC-9EC6-E156AE3EFCAB}"/>
          </ac:cxnSpMkLst>
        </pc:cxnChg>
        <pc:cxnChg chg="add mod">
          <ac:chgData name="Alina D" userId="24a60029abdc116d" providerId="LiveId" clId="{B2B885B0-7DDD-40D5-9AC7-E0D47B22B6DA}" dt="2018-05-23T13:39:27.999" v="145" actId="164"/>
          <ac:cxnSpMkLst>
            <pc:docMk/>
            <pc:sldMk cId="2809265874" sldId="303"/>
            <ac:cxnSpMk id="35" creationId="{CC8968E8-ECE2-4038-B7C0-0625D308F5B7}"/>
          </ac:cxnSpMkLst>
        </pc:cxnChg>
      </pc:sldChg>
      <pc:sldChg chg="modSp">
        <pc:chgData name="Alina D" userId="24a60029abdc116d" providerId="LiveId" clId="{B2B885B0-7DDD-40D5-9AC7-E0D47B22B6DA}" dt="2018-05-26T11:59:49.745" v="4989" actId="20577"/>
        <pc:sldMkLst>
          <pc:docMk/>
          <pc:sldMk cId="108730037" sldId="305"/>
        </pc:sldMkLst>
        <pc:spChg chg="mod">
          <ac:chgData name="Alina D" userId="24a60029abdc116d" providerId="LiveId" clId="{B2B885B0-7DDD-40D5-9AC7-E0D47B22B6DA}" dt="2018-05-23T13:43:51.270" v="206" actId="20577"/>
          <ac:spMkLst>
            <pc:docMk/>
            <pc:sldMk cId="108730037" sldId="305"/>
            <ac:spMk id="4" creationId="{4354C51B-2B4D-4EF0-8D28-51C455622542}"/>
          </ac:spMkLst>
        </pc:spChg>
        <pc:spChg chg="mod">
          <ac:chgData name="Alina D" userId="24a60029abdc116d" providerId="LiveId" clId="{B2B885B0-7DDD-40D5-9AC7-E0D47B22B6DA}" dt="2018-05-23T13:43:26.229" v="167" actId="1076"/>
          <ac:spMkLst>
            <pc:docMk/>
            <pc:sldMk cId="108730037" sldId="305"/>
            <ac:spMk id="13" creationId="{61D1338E-349D-4A08-8CCE-991E4C258D97}"/>
          </ac:spMkLst>
        </pc:spChg>
        <pc:spChg chg="mod">
          <ac:chgData name="Alina D" userId="24a60029abdc116d" providerId="LiveId" clId="{B2B885B0-7DDD-40D5-9AC7-E0D47B22B6DA}" dt="2018-05-26T11:59:49.745" v="4989" actId="20577"/>
          <ac:spMkLst>
            <pc:docMk/>
            <pc:sldMk cId="108730037" sldId="305"/>
            <ac:spMk id="21" creationId="{DA467AB7-5430-436F-B130-AC7E281C9761}"/>
          </ac:spMkLst>
        </pc:spChg>
        <pc:spChg chg="mod">
          <ac:chgData name="Alina D" userId="24a60029abdc116d" providerId="LiveId" clId="{B2B885B0-7DDD-40D5-9AC7-E0D47B22B6DA}" dt="2018-05-23T13:43:25.992" v="166" actId="1076"/>
          <ac:spMkLst>
            <pc:docMk/>
            <pc:sldMk cId="108730037" sldId="305"/>
            <ac:spMk id="22" creationId="{59B8F26F-56B0-4D3E-979E-AAB6B656A1A4}"/>
          </ac:spMkLst>
        </pc:spChg>
        <pc:spChg chg="mod">
          <ac:chgData name="Alina D" userId="24a60029abdc116d" providerId="LiveId" clId="{B2B885B0-7DDD-40D5-9AC7-E0D47B22B6DA}" dt="2018-05-23T13:43:25.678" v="165" actId="1076"/>
          <ac:spMkLst>
            <pc:docMk/>
            <pc:sldMk cId="108730037" sldId="305"/>
            <ac:spMk id="24" creationId="{59299111-EAF9-44DB-A730-D0D845EB2DEE}"/>
          </ac:spMkLst>
        </pc:spChg>
        <pc:spChg chg="mod">
          <ac:chgData name="Alina D" userId="24a60029abdc116d" providerId="LiveId" clId="{B2B885B0-7DDD-40D5-9AC7-E0D47B22B6DA}" dt="2018-05-23T13:41:01.418" v="156" actId="1076"/>
          <ac:spMkLst>
            <pc:docMk/>
            <pc:sldMk cId="108730037" sldId="305"/>
            <ac:spMk id="25" creationId="{E24CFFE2-CB8C-4282-99C0-2C2C8130C133}"/>
          </ac:spMkLst>
        </pc:spChg>
        <pc:cxnChg chg="mod">
          <ac:chgData name="Alina D" userId="24a60029abdc116d" providerId="LiveId" clId="{B2B885B0-7DDD-40D5-9AC7-E0D47B22B6DA}" dt="2018-05-23T14:02:25.384" v="412" actId="14100"/>
          <ac:cxnSpMkLst>
            <pc:docMk/>
            <pc:sldMk cId="108730037" sldId="305"/>
            <ac:cxnSpMk id="11" creationId="{F795F866-3FF2-4EA8-AF70-266C6A600D6E}"/>
          </ac:cxnSpMkLst>
        </pc:cxnChg>
        <pc:cxnChg chg="mod">
          <ac:chgData name="Alina D" userId="24a60029abdc116d" providerId="LiveId" clId="{B2B885B0-7DDD-40D5-9AC7-E0D47B22B6DA}" dt="2018-05-23T13:43:25.992" v="166" actId="1076"/>
          <ac:cxnSpMkLst>
            <pc:docMk/>
            <pc:sldMk cId="108730037" sldId="305"/>
            <ac:cxnSpMk id="16" creationId="{17C39F09-2338-4AA8-8D52-A55AD7623A75}"/>
          </ac:cxnSpMkLst>
        </pc:cxnChg>
        <pc:cxnChg chg="mod">
          <ac:chgData name="Alina D" userId="24a60029abdc116d" providerId="LiveId" clId="{B2B885B0-7DDD-40D5-9AC7-E0D47B22B6DA}" dt="2018-05-23T13:43:25.678" v="165" actId="1076"/>
          <ac:cxnSpMkLst>
            <pc:docMk/>
            <pc:sldMk cId="108730037" sldId="305"/>
            <ac:cxnSpMk id="19" creationId="{7F1EAE36-F7B8-4FAE-AE36-EAFDEF09E894}"/>
          </ac:cxnSpMkLst>
        </pc:cxnChg>
        <pc:cxnChg chg="mod">
          <ac:chgData name="Alina D" userId="24a60029abdc116d" providerId="LiveId" clId="{B2B885B0-7DDD-40D5-9AC7-E0D47B22B6DA}" dt="2018-05-23T13:41:12.608" v="158" actId="14100"/>
          <ac:cxnSpMkLst>
            <pc:docMk/>
            <pc:sldMk cId="108730037" sldId="305"/>
            <ac:cxnSpMk id="20" creationId="{E37287D5-AE57-44E3-8799-A2955F4440EE}"/>
          </ac:cxnSpMkLst>
        </pc:cxnChg>
      </pc:sldChg>
      <pc:sldChg chg="addSp delSp modSp modAnim modNotesTx">
        <pc:chgData name="Alina D" userId="24a60029abdc116d" providerId="LiveId" clId="{B2B885B0-7DDD-40D5-9AC7-E0D47B22B6DA}" dt="2018-05-26T08:09:55.363" v="3876" actId="1035"/>
        <pc:sldMkLst>
          <pc:docMk/>
          <pc:sldMk cId="2834539574" sldId="306"/>
        </pc:sldMkLst>
        <pc:spChg chg="mod">
          <ac:chgData name="Alina D" userId="24a60029abdc116d" providerId="LiveId" clId="{B2B885B0-7DDD-40D5-9AC7-E0D47B22B6DA}" dt="2018-05-25T08:57:22.055" v="1532" actId="20577"/>
          <ac:spMkLst>
            <pc:docMk/>
            <pc:sldMk cId="2834539574" sldId="306"/>
            <ac:spMk id="2" creationId="{3E068F29-CC64-46A9-A24C-78344DB55F96}"/>
          </ac:spMkLst>
        </pc:spChg>
        <pc:spChg chg="del mod">
          <ac:chgData name="Alina D" userId="24a60029abdc116d" providerId="LiveId" clId="{B2B885B0-7DDD-40D5-9AC7-E0D47B22B6DA}" dt="2018-05-25T08:44:06.938" v="1169" actId="478"/>
          <ac:spMkLst>
            <pc:docMk/>
            <pc:sldMk cId="2834539574" sldId="306"/>
            <ac:spMk id="3" creationId="{38FD5BB1-0B38-4CDF-A400-8DD3CF8DDDC3}"/>
          </ac:spMkLst>
        </pc:spChg>
        <pc:spChg chg="add mod">
          <ac:chgData name="Alina D" userId="24a60029abdc116d" providerId="LiveId" clId="{B2B885B0-7DDD-40D5-9AC7-E0D47B22B6DA}" dt="2018-05-26T08:09:46.658" v="3872" actId="1035"/>
          <ac:spMkLst>
            <pc:docMk/>
            <pc:sldMk cId="2834539574" sldId="306"/>
            <ac:spMk id="5" creationId="{9407E9CF-9FD4-4FC1-A386-986E3FA1F3AF}"/>
          </ac:spMkLst>
        </pc:spChg>
        <pc:spChg chg="add del mod">
          <ac:chgData name="Alina D" userId="24a60029abdc116d" providerId="LiveId" clId="{B2B885B0-7DDD-40D5-9AC7-E0D47B22B6DA}" dt="2018-05-25T08:47:15.252" v="1258" actId="20577"/>
          <ac:spMkLst>
            <pc:docMk/>
            <pc:sldMk cId="2834539574" sldId="306"/>
            <ac:spMk id="6" creationId="{2D1512B4-35E9-4915-A659-AA142777B86C}"/>
          </ac:spMkLst>
        </pc:spChg>
        <pc:spChg chg="add mod">
          <ac:chgData name="Alina D" userId="24a60029abdc116d" providerId="LiveId" clId="{B2B885B0-7DDD-40D5-9AC7-E0D47B22B6DA}" dt="2018-05-26T08:09:37.643" v="3866" actId="14100"/>
          <ac:spMkLst>
            <pc:docMk/>
            <pc:sldMk cId="2834539574" sldId="306"/>
            <ac:spMk id="7" creationId="{9688A907-E7DE-4F40-8CFD-80F6F9F7782A}"/>
          </ac:spMkLst>
        </pc:spChg>
        <pc:spChg chg="add mod">
          <ac:chgData name="Alina D" userId="24a60029abdc116d" providerId="LiveId" clId="{B2B885B0-7DDD-40D5-9AC7-E0D47B22B6DA}" dt="2018-05-26T07:47:22.690" v="3157" actId="20577"/>
          <ac:spMkLst>
            <pc:docMk/>
            <pc:sldMk cId="2834539574" sldId="306"/>
            <ac:spMk id="8" creationId="{09BC45F5-80CD-47D6-A18C-C52FF2465ADA}"/>
          </ac:spMkLst>
        </pc:spChg>
        <pc:spChg chg="add mod">
          <ac:chgData name="Alina D" userId="24a60029abdc116d" providerId="LiveId" clId="{B2B885B0-7DDD-40D5-9AC7-E0D47B22B6DA}" dt="2018-05-26T08:09:51.284" v="3874" actId="1035"/>
          <ac:spMkLst>
            <pc:docMk/>
            <pc:sldMk cId="2834539574" sldId="306"/>
            <ac:spMk id="9" creationId="{FB340802-3634-4FC4-A587-2957C2DDC470}"/>
          </ac:spMkLst>
        </pc:spChg>
        <pc:spChg chg="add mod">
          <ac:chgData name="Alina D" userId="24a60029abdc116d" providerId="LiveId" clId="{B2B885B0-7DDD-40D5-9AC7-E0D47B22B6DA}" dt="2018-05-26T08:09:51.284" v="3874" actId="1035"/>
          <ac:spMkLst>
            <pc:docMk/>
            <pc:sldMk cId="2834539574" sldId="306"/>
            <ac:spMk id="10" creationId="{E8B53656-ED5A-4265-8AAE-C99FDF29D841}"/>
          </ac:spMkLst>
        </pc:spChg>
        <pc:spChg chg="add mod">
          <ac:chgData name="Alina D" userId="24a60029abdc116d" providerId="LiveId" clId="{B2B885B0-7DDD-40D5-9AC7-E0D47B22B6DA}" dt="2018-05-26T08:09:51.284" v="3874" actId="1035"/>
          <ac:spMkLst>
            <pc:docMk/>
            <pc:sldMk cId="2834539574" sldId="306"/>
            <ac:spMk id="11" creationId="{ECBD9839-60BB-4F52-80A5-3B6056110BE7}"/>
          </ac:spMkLst>
        </pc:spChg>
        <pc:spChg chg="add mod">
          <ac:chgData name="Alina D" userId="24a60029abdc116d" providerId="LiveId" clId="{B2B885B0-7DDD-40D5-9AC7-E0D47B22B6DA}" dt="2018-05-26T08:09:55.363" v="3876" actId="1035"/>
          <ac:spMkLst>
            <pc:docMk/>
            <pc:sldMk cId="2834539574" sldId="306"/>
            <ac:spMk id="12" creationId="{6C27543F-EC51-4576-8D4A-EBA60FA75AF4}"/>
          </ac:spMkLst>
        </pc:spChg>
        <pc:spChg chg="add mod">
          <ac:chgData name="Alina D" userId="24a60029abdc116d" providerId="LiveId" clId="{B2B885B0-7DDD-40D5-9AC7-E0D47B22B6DA}" dt="2018-05-26T08:09:55.363" v="3876" actId="1035"/>
          <ac:spMkLst>
            <pc:docMk/>
            <pc:sldMk cId="2834539574" sldId="306"/>
            <ac:spMk id="13" creationId="{30907441-086E-4EF8-B96B-9835CF3CC76B}"/>
          </ac:spMkLst>
        </pc:spChg>
      </pc:sldChg>
      <pc:sldChg chg="addSp modSp modAnim">
        <pc:chgData name="Alina D" userId="24a60029abdc116d" providerId="LiveId" clId="{B2B885B0-7DDD-40D5-9AC7-E0D47B22B6DA}" dt="2018-05-27T17:08:06.086" v="5215" actId="20577"/>
        <pc:sldMkLst>
          <pc:docMk/>
          <pc:sldMk cId="2777406611" sldId="307"/>
        </pc:sldMkLst>
        <pc:spChg chg="mod">
          <ac:chgData name="Alina D" userId="24a60029abdc116d" providerId="LiveId" clId="{B2B885B0-7DDD-40D5-9AC7-E0D47B22B6DA}" dt="2018-05-27T17:08:06.086" v="5215" actId="20577"/>
          <ac:spMkLst>
            <pc:docMk/>
            <pc:sldMk cId="2777406611" sldId="307"/>
            <ac:spMk id="3" creationId="{6BCC01D3-9A8D-46DA-AB10-E7C65A431B53}"/>
          </ac:spMkLst>
        </pc:spChg>
        <pc:spChg chg="add mod">
          <ac:chgData name="Alina D" userId="24a60029abdc116d" providerId="LiveId" clId="{B2B885B0-7DDD-40D5-9AC7-E0D47B22B6DA}" dt="2018-05-26T08:39:26.405" v="4981" actId="1035"/>
          <ac:spMkLst>
            <pc:docMk/>
            <pc:sldMk cId="2777406611" sldId="307"/>
            <ac:spMk id="5" creationId="{ED1C3CDC-6AAF-4CC4-8FB1-5756031A3C3D}"/>
          </ac:spMkLst>
        </pc:spChg>
        <pc:spChg chg="add mod">
          <ac:chgData name="Alina D" userId="24a60029abdc116d" providerId="LiveId" clId="{B2B885B0-7DDD-40D5-9AC7-E0D47B22B6DA}" dt="2018-05-26T12:01:07.240" v="5054" actId="20577"/>
          <ac:spMkLst>
            <pc:docMk/>
            <pc:sldMk cId="2777406611" sldId="307"/>
            <ac:spMk id="6" creationId="{49A3B3AF-2D13-48CE-A7E1-F8CDA83998C0}"/>
          </ac:spMkLst>
        </pc:spChg>
      </pc:sldChg>
      <pc:sldChg chg="addSp delSp modSp add ord modNotesTx">
        <pc:chgData name="Alina D" userId="24a60029abdc116d" providerId="LiveId" clId="{B2B885B0-7DDD-40D5-9AC7-E0D47B22B6DA}" dt="2018-06-03T10:29:13.893" v="7174" actId="20577"/>
        <pc:sldMkLst>
          <pc:docMk/>
          <pc:sldMk cId="2881231124" sldId="309"/>
        </pc:sldMkLst>
        <pc:spChg chg="mod">
          <ac:chgData name="Alina D" userId="24a60029abdc116d" providerId="LiveId" clId="{B2B885B0-7DDD-40D5-9AC7-E0D47B22B6DA}" dt="2018-05-23T13:58:43.156" v="308" actId="20577"/>
          <ac:spMkLst>
            <pc:docMk/>
            <pc:sldMk cId="2881231124" sldId="309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6-03T10:29:13.893" v="7174" actId="20577"/>
          <ac:spMkLst>
            <pc:docMk/>
            <pc:sldMk cId="2881231124" sldId="309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4:00:41.310" v="402" actId="113"/>
          <ac:spMkLst>
            <pc:docMk/>
            <pc:sldMk cId="2881231124" sldId="309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42.795" v="939" actId="20577"/>
          <ac:spMkLst>
            <pc:docMk/>
            <pc:sldMk cId="2881231124" sldId="309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3T14:02:00.091" v="410" actId="113"/>
          <ac:spMkLst>
            <pc:docMk/>
            <pc:sldMk cId="2881231124" sldId="309"/>
            <ac:spMk id="12" creationId="{8CDCB2BF-D54D-4A32-87E3-B3C440F2DEE0}"/>
          </ac:spMkLst>
        </pc:spChg>
        <pc:picChg chg="add del mod modCrop">
          <ac:chgData name="Alina D" userId="24a60029abdc116d" providerId="LiveId" clId="{B2B885B0-7DDD-40D5-9AC7-E0D47B22B6DA}" dt="2018-05-26T07:57:35.679" v="3319" actId="478"/>
          <ac:picMkLst>
            <pc:docMk/>
            <pc:sldMk cId="2881231124" sldId="309"/>
            <ac:picMk id="2" creationId="{B529097B-19B2-4158-94C5-A0C375CE500D}"/>
          </ac:picMkLst>
        </pc:picChg>
      </pc:sldChg>
      <pc:sldChg chg="modSp add">
        <pc:chgData name="Alina D" userId="24a60029abdc116d" providerId="LiveId" clId="{B2B885B0-7DDD-40D5-9AC7-E0D47B22B6DA}" dt="2018-06-03T10:34:00.374" v="7186" actId="20577"/>
        <pc:sldMkLst>
          <pc:docMk/>
          <pc:sldMk cId="1959424531" sldId="310"/>
        </pc:sldMkLst>
        <pc:spChg chg="mod">
          <ac:chgData name="Alina D" userId="24a60029abdc116d" providerId="LiveId" clId="{B2B885B0-7DDD-40D5-9AC7-E0D47B22B6DA}" dt="2018-05-23T13:59:24.422" v="346" actId="20577"/>
          <ac:spMkLst>
            <pc:docMk/>
            <pc:sldMk cId="1959424531" sldId="310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6-03T10:34:00.374" v="7186" actId="20577"/>
          <ac:spMkLst>
            <pc:docMk/>
            <pc:sldMk cId="1959424531" sldId="310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4:01:46.130" v="408" actId="113"/>
          <ac:spMkLst>
            <pc:docMk/>
            <pc:sldMk cId="1959424531" sldId="310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45.592" v="940" actId="20577"/>
          <ac:spMkLst>
            <pc:docMk/>
            <pc:sldMk cId="1959424531" sldId="310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3T14:01:50.328" v="409" actId="113"/>
          <ac:spMkLst>
            <pc:docMk/>
            <pc:sldMk cId="1959424531" sldId="310"/>
            <ac:spMk id="11" creationId="{324C5B71-C754-4A98-A3B1-2F857B9B2B41}"/>
          </ac:spMkLst>
        </pc:spChg>
      </pc:sldChg>
      <pc:sldChg chg="addSp modSp add ord modAnim">
        <pc:chgData name="Alina D" userId="24a60029abdc116d" providerId="LiveId" clId="{B2B885B0-7DDD-40D5-9AC7-E0D47B22B6DA}" dt="2018-05-26T07:45:17.979" v="3140" actId="20577"/>
        <pc:sldMkLst>
          <pc:docMk/>
          <pc:sldMk cId="3835977834" sldId="311"/>
        </pc:sldMkLst>
        <pc:spChg chg="mod">
          <ac:chgData name="Alina D" userId="24a60029abdc116d" providerId="LiveId" clId="{B2B885B0-7DDD-40D5-9AC7-E0D47B22B6DA}" dt="2018-05-26T07:40:34.016" v="3032" actId="20577"/>
          <ac:spMkLst>
            <pc:docMk/>
            <pc:sldMk cId="3835977834" sldId="311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5-26T07:43:00.557" v="3112" actId="20577"/>
          <ac:spMkLst>
            <pc:docMk/>
            <pc:sldMk cId="3835977834" sldId="311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4:01:25.937" v="406" actId="113"/>
          <ac:spMkLst>
            <pc:docMk/>
            <pc:sldMk cId="3835977834" sldId="311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47.889" v="941" actId="20577"/>
          <ac:spMkLst>
            <pc:docMk/>
            <pc:sldMk cId="3835977834" sldId="311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3T14:01:29.545" v="407" actId="113"/>
          <ac:spMkLst>
            <pc:docMk/>
            <pc:sldMk cId="3835977834" sldId="311"/>
            <ac:spMk id="10" creationId="{EF255747-A695-4CE4-9E08-88BD9AC7F194}"/>
          </ac:spMkLst>
        </pc:spChg>
        <pc:spChg chg="add mod">
          <ac:chgData name="Alina D" userId="24a60029abdc116d" providerId="LiveId" clId="{B2B885B0-7DDD-40D5-9AC7-E0D47B22B6DA}" dt="2018-05-26T07:45:10.039" v="3139" actId="1036"/>
          <ac:spMkLst>
            <pc:docMk/>
            <pc:sldMk cId="3835977834" sldId="311"/>
            <ac:spMk id="13" creationId="{001E40F2-B11E-48B1-B0AA-00513ACE31A6}"/>
          </ac:spMkLst>
        </pc:spChg>
        <pc:spChg chg="add mod">
          <ac:chgData name="Alina D" userId="24a60029abdc116d" providerId="LiveId" clId="{B2B885B0-7DDD-40D5-9AC7-E0D47B22B6DA}" dt="2018-05-26T07:45:10.039" v="3139" actId="1036"/>
          <ac:spMkLst>
            <pc:docMk/>
            <pc:sldMk cId="3835977834" sldId="311"/>
            <ac:spMk id="15" creationId="{EDFA4963-CA05-43DF-9443-1325C2A34677}"/>
          </ac:spMkLst>
        </pc:spChg>
      </pc:sldChg>
      <pc:sldChg chg="addSp delSp modSp add modAnim modNotesTx">
        <pc:chgData name="Alina D" userId="24a60029abdc116d" providerId="LiveId" clId="{B2B885B0-7DDD-40D5-9AC7-E0D47B22B6DA}" dt="2018-05-26T12:00:06.297" v="4990" actId="20577"/>
        <pc:sldMkLst>
          <pc:docMk/>
          <pc:sldMk cId="4259327280" sldId="312"/>
        </pc:sldMkLst>
        <pc:spChg chg="add mod ord">
          <ac:chgData name="Alina D" userId="24a60029abdc116d" providerId="LiveId" clId="{B2B885B0-7DDD-40D5-9AC7-E0D47B22B6DA}" dt="2018-05-26T07:46:31.686" v="3156" actId="1076"/>
          <ac:spMkLst>
            <pc:docMk/>
            <pc:sldMk cId="4259327280" sldId="312"/>
            <ac:spMk id="2" creationId="{FF507108-0812-4512-9C58-A1B7E819E36A}"/>
          </ac:spMkLst>
        </pc:spChg>
        <pc:spChg chg="mod">
          <ac:chgData name="Alina D" userId="24a60029abdc116d" providerId="LiveId" clId="{B2B885B0-7DDD-40D5-9AC7-E0D47B22B6DA}" dt="2018-05-25T08:36:31.879" v="959" actId="20577"/>
          <ac:spMkLst>
            <pc:docMk/>
            <pc:sldMk cId="4259327280" sldId="312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5-25T08:40:32.295" v="1117" actId="27636"/>
          <ac:spMkLst>
            <pc:docMk/>
            <pc:sldMk cId="4259327280" sldId="312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5T08:35:38.500" v="938" actId="20577"/>
          <ac:spMkLst>
            <pc:docMk/>
            <pc:sldMk cId="4259327280" sldId="312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5T08:32:11.948" v="903" actId="113"/>
          <ac:spMkLst>
            <pc:docMk/>
            <pc:sldMk cId="4259327280" sldId="312"/>
            <ac:spMk id="12" creationId="{8CDCB2BF-D54D-4A32-87E3-B3C440F2DEE0}"/>
          </ac:spMkLst>
        </pc:spChg>
        <pc:spChg chg="add del mod">
          <ac:chgData name="Alina D" userId="24a60029abdc116d" providerId="LiveId" clId="{B2B885B0-7DDD-40D5-9AC7-E0D47B22B6DA}" dt="2018-05-25T08:37:45.115" v="1079" actId="14100"/>
          <ac:spMkLst>
            <pc:docMk/>
            <pc:sldMk cId="4259327280" sldId="312"/>
            <ac:spMk id="15" creationId="{C7D905EC-D556-4BAF-8CE7-B582E1D02642}"/>
          </ac:spMkLst>
        </pc:spChg>
        <pc:spChg chg="add del mod">
          <ac:chgData name="Alina D" userId="24a60029abdc116d" providerId="LiveId" clId="{B2B885B0-7DDD-40D5-9AC7-E0D47B22B6DA}" dt="2018-05-25T08:37:45.115" v="1079" actId="14100"/>
          <ac:spMkLst>
            <pc:docMk/>
            <pc:sldMk cId="4259327280" sldId="312"/>
            <ac:spMk id="16" creationId="{600B5850-32E1-4D6A-9C8E-5E627CB31FE8}"/>
          </ac:spMkLst>
        </pc:spChg>
        <pc:spChg chg="add mod">
          <ac:chgData name="Alina D" userId="24a60029abdc116d" providerId="LiveId" clId="{B2B885B0-7DDD-40D5-9AC7-E0D47B22B6DA}" dt="2018-05-26T07:46:22.782" v="3155" actId="20577"/>
          <ac:spMkLst>
            <pc:docMk/>
            <pc:sldMk cId="4259327280" sldId="312"/>
            <ac:spMk id="17" creationId="{CDE07351-460F-4B08-B480-3A4398F8BBCB}"/>
          </ac:spMkLst>
        </pc:spChg>
        <pc:spChg chg="add mod">
          <ac:chgData name="Alina D" userId="24a60029abdc116d" providerId="LiveId" clId="{B2B885B0-7DDD-40D5-9AC7-E0D47B22B6DA}" dt="2018-05-26T07:49:03.382" v="3166" actId="1076"/>
          <ac:spMkLst>
            <pc:docMk/>
            <pc:sldMk cId="4259327280" sldId="312"/>
            <ac:spMk id="18" creationId="{2DB2B65F-8F11-43B9-ABF5-0B0DBF90961F}"/>
          </ac:spMkLst>
        </pc:spChg>
        <pc:picChg chg="add del mod">
          <ac:chgData name="Alina D" userId="24a60029abdc116d" providerId="LiveId" clId="{B2B885B0-7DDD-40D5-9AC7-E0D47B22B6DA}" dt="2018-05-25T08:22:06.616" v="568" actId="478"/>
          <ac:picMkLst>
            <pc:docMk/>
            <pc:sldMk cId="4259327280" sldId="312"/>
            <ac:picMk id="13" creationId="{27BABE2A-18B3-4D0E-BE5A-5B1F98186D9E}"/>
          </ac:picMkLst>
        </pc:picChg>
      </pc:sldChg>
      <pc:sldChg chg="addSp delSp modSp add modNotesTx">
        <pc:chgData name="Alina D" userId="24a60029abdc116d" providerId="LiveId" clId="{B2B885B0-7DDD-40D5-9AC7-E0D47B22B6DA}" dt="2018-05-27T18:56:59.822" v="5603" actId="1076"/>
        <pc:sldMkLst>
          <pc:docMk/>
          <pc:sldMk cId="1492746274" sldId="313"/>
        </pc:sldMkLst>
        <pc:spChg chg="mod">
          <ac:chgData name="Alina D" userId="24a60029abdc116d" providerId="LiveId" clId="{B2B885B0-7DDD-40D5-9AC7-E0D47B22B6DA}" dt="2018-05-25T09:22:11.382" v="1993" actId="20577"/>
          <ac:spMkLst>
            <pc:docMk/>
            <pc:sldMk cId="1492746274" sldId="313"/>
            <ac:spMk id="2" creationId="{BD82F4D7-7272-43DE-B594-39E3B481F64C}"/>
          </ac:spMkLst>
        </pc:spChg>
        <pc:spChg chg="del">
          <ac:chgData name="Alina D" userId="24a60029abdc116d" providerId="LiveId" clId="{B2B885B0-7DDD-40D5-9AC7-E0D47B22B6DA}" dt="2018-05-25T09:12:19.169" v="1640" actId="20577"/>
          <ac:spMkLst>
            <pc:docMk/>
            <pc:sldMk cId="1492746274" sldId="313"/>
            <ac:spMk id="3" creationId="{0496CC86-D4CB-4A9A-A8D0-4F3ACF1DE8C2}"/>
          </ac:spMkLst>
        </pc:spChg>
        <pc:spChg chg="add mod">
          <ac:chgData name="Alina D" userId="24a60029abdc116d" providerId="LiveId" clId="{B2B885B0-7DDD-40D5-9AC7-E0D47B22B6DA}" dt="2018-05-25T09:14:19.024" v="1736" actId="404"/>
          <ac:spMkLst>
            <pc:docMk/>
            <pc:sldMk cId="1492746274" sldId="313"/>
            <ac:spMk id="7" creationId="{C8C78E1A-C7EB-4077-81D6-4F6831BE0067}"/>
          </ac:spMkLst>
        </pc:spChg>
        <pc:picChg chg="add del">
          <ac:chgData name="Alina D" userId="24a60029abdc116d" providerId="LiveId" clId="{B2B885B0-7DDD-40D5-9AC7-E0D47B22B6DA}" dt="2018-05-25T09:12:18.477" v="1639" actId="20577"/>
          <ac:picMkLst>
            <pc:docMk/>
            <pc:sldMk cId="1492746274" sldId="313"/>
            <ac:picMk id="5" creationId="{8FAB2BE4-4AF9-41F9-91BD-7FC677A5DC61}"/>
          </ac:picMkLst>
        </pc:picChg>
        <pc:picChg chg="add mod">
          <ac:chgData name="Alina D" userId="24a60029abdc116d" providerId="LiveId" clId="{B2B885B0-7DDD-40D5-9AC7-E0D47B22B6DA}" dt="2018-05-27T18:56:59.822" v="5603" actId="1076"/>
          <ac:picMkLst>
            <pc:docMk/>
            <pc:sldMk cId="1492746274" sldId="313"/>
            <ac:picMk id="6" creationId="{3C2C5D8D-47A1-49D5-9FD4-B499DC3760D3}"/>
          </ac:picMkLst>
        </pc:picChg>
      </pc:sldChg>
      <pc:sldChg chg="addSp modSp add del modNotesTx">
        <pc:chgData name="Alina D" userId="24a60029abdc116d" providerId="LiveId" clId="{B2B885B0-7DDD-40D5-9AC7-E0D47B22B6DA}" dt="2018-06-03T10:52:15.415" v="7190" actId="2696"/>
        <pc:sldMkLst>
          <pc:docMk/>
          <pc:sldMk cId="7101826" sldId="314"/>
        </pc:sldMkLst>
        <pc:spChg chg="mod">
          <ac:chgData name="Alina D" userId="24a60029abdc116d" providerId="LiveId" clId="{B2B885B0-7DDD-40D5-9AC7-E0D47B22B6DA}" dt="2018-05-25T09:48:34.077" v="2660" actId="20577"/>
          <ac:spMkLst>
            <pc:docMk/>
            <pc:sldMk cId="7101826" sldId="314"/>
            <ac:spMk id="2" creationId="{E6E1C2CB-6A01-4009-9CF0-8F1EC7B92BF0}"/>
          </ac:spMkLst>
        </pc:spChg>
        <pc:graphicFrameChg chg="add mod">
          <ac:chgData name="Alina D" userId="24a60029abdc116d" providerId="LiveId" clId="{B2B885B0-7DDD-40D5-9AC7-E0D47B22B6DA}" dt="2018-05-25T09:50:00.652" v="2779" actId="207"/>
          <ac:graphicFrameMkLst>
            <pc:docMk/>
            <pc:sldMk cId="7101826" sldId="314"/>
            <ac:graphicFrameMk id="4" creationId="{09C850E8-145B-49FC-8145-A6CFD6A0B1E7}"/>
          </ac:graphicFrameMkLst>
        </pc:graphicFrameChg>
      </pc:sldChg>
      <pc:sldChg chg="addSp modSp add ord modAnim">
        <pc:chgData name="Alina D" userId="24a60029abdc116d" providerId="LiveId" clId="{B2B885B0-7DDD-40D5-9AC7-E0D47B22B6DA}" dt="2018-06-03T10:51:43.013" v="7187" actId="2696"/>
        <pc:sldMkLst>
          <pc:docMk/>
          <pc:sldMk cId="3881413946" sldId="315"/>
        </pc:sldMkLst>
        <pc:spChg chg="mod">
          <ac:chgData name="Alina D" userId="24a60029abdc116d" providerId="LiveId" clId="{B2B885B0-7DDD-40D5-9AC7-E0D47B22B6DA}" dt="2018-05-25T09:52:03.723" v="2904" actId="20577"/>
          <ac:spMkLst>
            <pc:docMk/>
            <pc:sldMk cId="3881413946" sldId="315"/>
            <ac:spMk id="2" creationId="{4872FFB8-1833-4843-A857-F5E4F6B48924}"/>
          </ac:spMkLst>
        </pc:spChg>
        <pc:spChg chg="mod">
          <ac:chgData name="Alina D" userId="24a60029abdc116d" providerId="LiveId" clId="{B2B885B0-7DDD-40D5-9AC7-E0D47B22B6DA}" dt="2018-05-25T09:55:35.358" v="3017" actId="27636"/>
          <ac:spMkLst>
            <pc:docMk/>
            <pc:sldMk cId="3881413946" sldId="315"/>
            <ac:spMk id="3" creationId="{57136F48-BD58-4110-A5DC-548777B9DC70}"/>
          </ac:spMkLst>
        </pc:spChg>
        <pc:spChg chg="mod">
          <ac:chgData name="Alina D" userId="24a60029abdc116d" providerId="LiveId" clId="{B2B885B0-7DDD-40D5-9AC7-E0D47B22B6DA}" dt="2018-05-25T09:53:10.861" v="2939" actId="113"/>
          <ac:spMkLst>
            <pc:docMk/>
            <pc:sldMk cId="3881413946" sldId="315"/>
            <ac:spMk id="9" creationId="{88215574-2BE0-4774-803D-9929E41D92BF}"/>
          </ac:spMkLst>
        </pc:spChg>
        <pc:spChg chg="mod">
          <ac:chgData name="Alina D" userId="24a60029abdc116d" providerId="LiveId" clId="{B2B885B0-7DDD-40D5-9AC7-E0D47B22B6DA}" dt="2018-05-25T09:53:08.805" v="2938" actId="113"/>
          <ac:spMkLst>
            <pc:docMk/>
            <pc:sldMk cId="3881413946" sldId="315"/>
            <ac:spMk id="10" creationId="{563A1304-AD9A-4218-9556-781378BD6AFB}"/>
          </ac:spMkLst>
        </pc:spChg>
        <pc:spChg chg="add">
          <ac:chgData name="Alina D" userId="24a60029abdc116d" providerId="LiveId" clId="{B2B885B0-7DDD-40D5-9AC7-E0D47B22B6DA}" dt="2018-05-25T09:55:18.131" v="3010" actId="20577"/>
          <ac:spMkLst>
            <pc:docMk/>
            <pc:sldMk cId="3881413946" sldId="315"/>
            <ac:spMk id="11" creationId="{B481F72F-860A-4CA9-9382-32A6FF8BB9E4}"/>
          </ac:spMkLst>
        </pc:spChg>
        <pc:spChg chg="add mod">
          <ac:chgData name="Alina D" userId="24a60029abdc116d" providerId="LiveId" clId="{B2B885B0-7DDD-40D5-9AC7-E0D47B22B6DA}" dt="2018-05-25T09:56:08.206" v="3022" actId="20577"/>
          <ac:spMkLst>
            <pc:docMk/>
            <pc:sldMk cId="3881413946" sldId="315"/>
            <ac:spMk id="13" creationId="{9AB37697-F57C-416F-97B9-516DA7AC4D56}"/>
          </ac:spMkLst>
        </pc:spChg>
      </pc:sldChg>
      <pc:sldChg chg="modSp add ord">
        <pc:chgData name="Alina D" userId="24a60029abdc116d" providerId="LiveId" clId="{B2B885B0-7DDD-40D5-9AC7-E0D47B22B6DA}" dt="2018-06-03T10:51:43.013" v="7187" actId="2696"/>
        <pc:sldMkLst>
          <pc:docMk/>
          <pc:sldMk cId="4069971455" sldId="316"/>
        </pc:sldMkLst>
        <pc:spChg chg="mod">
          <ac:chgData name="Alina D" userId="24a60029abdc116d" providerId="LiveId" clId="{B2B885B0-7DDD-40D5-9AC7-E0D47B22B6DA}" dt="2018-05-25T09:52:23.102" v="2934" actId="20577"/>
          <ac:spMkLst>
            <pc:docMk/>
            <pc:sldMk cId="4069971455" sldId="316"/>
            <ac:spMk id="2" creationId="{4872FFB8-1833-4843-A857-F5E4F6B48924}"/>
          </ac:spMkLst>
        </pc:spChg>
        <pc:spChg chg="mod">
          <ac:chgData name="Alina D" userId="24a60029abdc116d" providerId="LiveId" clId="{B2B885B0-7DDD-40D5-9AC7-E0D47B22B6DA}" dt="2018-06-01T09:17:51.934" v="5713" actId="20577"/>
          <ac:spMkLst>
            <pc:docMk/>
            <pc:sldMk cId="4069971455" sldId="316"/>
            <ac:spMk id="3" creationId="{57136F48-BD58-4110-A5DC-548777B9DC70}"/>
          </ac:spMkLst>
        </pc:spChg>
      </pc:sldChg>
      <pc:sldChg chg="addSp delSp modSp add modNotesTx">
        <pc:chgData name="Alina D" userId="24a60029abdc116d" providerId="LiveId" clId="{B2B885B0-7DDD-40D5-9AC7-E0D47B22B6DA}" dt="2018-05-26T07:59:47.963" v="3456" actId="20577"/>
        <pc:sldMkLst>
          <pc:docMk/>
          <pc:sldMk cId="3943297983" sldId="317"/>
        </pc:sldMkLst>
        <pc:spChg chg="del">
          <ac:chgData name="Alina D" userId="24a60029abdc116d" providerId="LiveId" clId="{B2B885B0-7DDD-40D5-9AC7-E0D47B22B6DA}" dt="2018-05-26T07:57:39.713" v="3320" actId="478"/>
          <ac:spMkLst>
            <pc:docMk/>
            <pc:sldMk cId="3943297983" sldId="317"/>
            <ac:spMk id="5" creationId="{1C8C9622-DB68-4D83-98E1-99645C1ECDCC}"/>
          </ac:spMkLst>
        </pc:spChg>
        <pc:spChg chg="add del mod">
          <ac:chgData name="Alina D" userId="24a60029abdc116d" providerId="LiveId" clId="{B2B885B0-7DDD-40D5-9AC7-E0D47B22B6DA}" dt="2018-05-26T07:57:45.101" v="3321" actId="478"/>
          <ac:spMkLst>
            <pc:docMk/>
            <pc:sldMk cId="3943297983" sldId="317"/>
            <ac:spMk id="15" creationId="{F919889A-CB9E-49FC-9B4F-388D94EDC66A}"/>
          </ac:spMkLst>
        </pc:spChg>
        <pc:spChg chg="add mod">
          <ac:chgData name="Alina D" userId="24a60029abdc116d" providerId="LiveId" clId="{B2B885B0-7DDD-40D5-9AC7-E0D47B22B6DA}" dt="2018-05-26T07:59:19.426" v="3399" actId="20577"/>
          <ac:spMkLst>
            <pc:docMk/>
            <pc:sldMk cId="3943297983" sldId="317"/>
            <ac:spMk id="16" creationId="{C934FC2A-79FB-44DE-A454-872E6F7BDB8D}"/>
          </ac:spMkLst>
        </pc:spChg>
        <pc:picChg chg="mod">
          <ac:chgData name="Alina D" userId="24a60029abdc116d" providerId="LiveId" clId="{B2B885B0-7DDD-40D5-9AC7-E0D47B22B6DA}" dt="2018-05-26T07:58:43.944" v="3325" actId="1076"/>
          <ac:picMkLst>
            <pc:docMk/>
            <pc:sldMk cId="3943297983" sldId="317"/>
            <ac:picMk id="2" creationId="{B529097B-19B2-4158-94C5-A0C375CE500D}"/>
          </ac:picMkLst>
        </pc:picChg>
      </pc:sldChg>
      <pc:sldChg chg="addSp modSp add">
        <pc:chgData name="Alina D" userId="24a60029abdc116d" providerId="LiveId" clId="{B2B885B0-7DDD-40D5-9AC7-E0D47B22B6DA}" dt="2018-05-27T17:15:03.928" v="5593" actId="12"/>
        <pc:sldMkLst>
          <pc:docMk/>
          <pc:sldMk cId="738487806" sldId="318"/>
        </pc:sldMkLst>
        <pc:spChg chg="mod">
          <ac:chgData name="Alina D" userId="24a60029abdc116d" providerId="LiveId" clId="{B2B885B0-7DDD-40D5-9AC7-E0D47B22B6DA}" dt="2018-05-27T13:27:17.742" v="5094" actId="20577"/>
          <ac:spMkLst>
            <pc:docMk/>
            <pc:sldMk cId="738487806" sldId="318"/>
            <ac:spMk id="2" creationId="{EAF749CF-AAF6-4361-9F2E-74C6C39E59CB}"/>
          </ac:spMkLst>
        </pc:spChg>
        <pc:spChg chg="add mod">
          <ac:chgData name="Alina D" userId="24a60029abdc116d" providerId="LiveId" clId="{B2B885B0-7DDD-40D5-9AC7-E0D47B22B6DA}" dt="2018-05-27T17:15:03.928" v="5593" actId="12"/>
          <ac:spMkLst>
            <pc:docMk/>
            <pc:sldMk cId="738487806" sldId="318"/>
            <ac:spMk id="4" creationId="{A6825BB0-69E3-4314-834F-0188A8401185}"/>
          </ac:spMkLst>
        </pc:spChg>
      </pc:sldChg>
      <pc:sldChg chg="modSp">
        <pc:chgData name="Alina D" userId="24a60029abdc116d" providerId="LiveId" clId="{B2B885B0-7DDD-40D5-9AC7-E0D47B22B6DA}" dt="2018-06-01T09:17:03.552" v="5671" actId="20577"/>
        <pc:sldMkLst>
          <pc:docMk/>
          <pc:sldMk cId="1975194389" sldId="323"/>
        </pc:sldMkLst>
        <pc:spChg chg="mod">
          <ac:chgData name="Alina D" userId="24a60029abdc116d" providerId="LiveId" clId="{B2B885B0-7DDD-40D5-9AC7-E0D47B22B6DA}" dt="2018-06-01T09:17:03.552" v="5671" actId="20577"/>
          <ac:spMkLst>
            <pc:docMk/>
            <pc:sldMk cId="1975194389" sldId="323"/>
            <ac:spMk id="16" creationId="{BDC97673-CD47-47A0-B0F2-0C318FFBD2B2}"/>
          </ac:spMkLst>
        </pc:spChg>
      </pc:sldChg>
      <pc:sldChg chg="delSp modSp del">
        <pc:chgData name="Alina D" userId="24a60029abdc116d" providerId="LiveId" clId="{B2B885B0-7DDD-40D5-9AC7-E0D47B22B6DA}" dt="2018-06-03T10:27:33.618" v="7158" actId="2696"/>
        <pc:sldMkLst>
          <pc:docMk/>
          <pc:sldMk cId="2274655035" sldId="325"/>
        </pc:sldMkLst>
        <pc:spChg chg="del">
          <ac:chgData name="Alina D" userId="24a60029abdc116d" providerId="LiveId" clId="{B2B885B0-7DDD-40D5-9AC7-E0D47B22B6DA}" dt="2018-06-03T10:27:33.615" v="7156" actId="478"/>
          <ac:spMkLst>
            <pc:docMk/>
            <pc:sldMk cId="2274655035" sldId="325"/>
            <ac:spMk id="4" creationId="{E88C2A81-EC15-4705-9501-27CE53562E1C}"/>
          </ac:spMkLst>
        </pc:spChg>
        <pc:spChg chg="del mod">
          <ac:chgData name="Alina D" userId="24a60029abdc116d" providerId="LiveId" clId="{B2B885B0-7DDD-40D5-9AC7-E0D47B22B6DA}" dt="2018-06-03T10:27:31.985" v="5744" actId="478"/>
          <ac:spMkLst>
            <pc:docMk/>
            <pc:sldMk cId="2274655035" sldId="325"/>
            <ac:spMk id="6" creationId="{A9925CCF-2231-4E6D-8574-7C327C10C682}"/>
          </ac:spMkLst>
        </pc:spChg>
        <pc:spChg chg="del mod">
          <ac:chgData name="Alina D" userId="24a60029abdc116d" providerId="LiveId" clId="{B2B885B0-7DDD-40D5-9AC7-E0D47B22B6DA}" dt="2018-06-03T10:27:32.103" v="5820" actId="478"/>
          <ac:spMkLst>
            <pc:docMk/>
            <pc:sldMk cId="2274655035" sldId="325"/>
            <ac:spMk id="8" creationId="{40EA0067-19B3-4712-B264-0622E75B1E01}"/>
          </ac:spMkLst>
        </pc:spChg>
        <pc:spChg chg="del mod">
          <ac:chgData name="Alina D" userId="24a60029abdc116d" providerId="LiveId" clId="{B2B885B0-7DDD-40D5-9AC7-E0D47B22B6DA}" dt="2018-06-03T10:27:32.118" v="5834" actId="478"/>
          <ac:spMkLst>
            <pc:docMk/>
            <pc:sldMk cId="2274655035" sldId="325"/>
            <ac:spMk id="9" creationId="{B84F4D64-8159-4304-B9A3-F45FB4139969}"/>
          </ac:spMkLst>
        </pc:spChg>
        <pc:spChg chg="del mod">
          <ac:chgData name="Alina D" userId="24a60029abdc116d" providerId="LiveId" clId="{B2B885B0-7DDD-40D5-9AC7-E0D47B22B6DA}" dt="2018-06-03T10:27:32.132" v="5848" actId="478"/>
          <ac:spMkLst>
            <pc:docMk/>
            <pc:sldMk cId="2274655035" sldId="325"/>
            <ac:spMk id="10" creationId="{12B2997D-7CBC-40CA-85F1-D8DEF5A8D446}"/>
          </ac:spMkLst>
        </pc:spChg>
        <pc:spChg chg="del mod">
          <ac:chgData name="Alina D" userId="24a60029abdc116d" providerId="LiveId" clId="{B2B885B0-7DDD-40D5-9AC7-E0D47B22B6DA}" dt="2018-06-03T10:27:32.147" v="5862" actId="478"/>
          <ac:spMkLst>
            <pc:docMk/>
            <pc:sldMk cId="2274655035" sldId="325"/>
            <ac:spMk id="11" creationId="{2221894A-88C5-40F3-A2DE-BC1AB3208812}"/>
          </ac:spMkLst>
        </pc:spChg>
        <pc:spChg chg="del mod">
          <ac:chgData name="Alina D" userId="24a60029abdc116d" providerId="LiveId" clId="{B2B885B0-7DDD-40D5-9AC7-E0D47B22B6DA}" dt="2018-06-03T10:27:32.158" v="5870" actId="478"/>
          <ac:spMkLst>
            <pc:docMk/>
            <pc:sldMk cId="2274655035" sldId="325"/>
            <ac:spMk id="12" creationId="{5F4704C0-C205-46FC-ABE6-39F28F2C4313}"/>
          </ac:spMkLst>
        </pc:spChg>
        <pc:spChg chg="del mod">
          <ac:chgData name="Alina D" userId="24a60029abdc116d" providerId="LiveId" clId="{B2B885B0-7DDD-40D5-9AC7-E0D47B22B6DA}" dt="2018-06-03T10:27:32.165" v="5878" actId="478"/>
          <ac:spMkLst>
            <pc:docMk/>
            <pc:sldMk cId="2274655035" sldId="325"/>
            <ac:spMk id="13" creationId="{4B4C4C91-8396-45B1-A009-E8CB7FEAD5F5}"/>
          </ac:spMkLst>
        </pc:spChg>
        <pc:spChg chg="del mod">
          <ac:chgData name="Alina D" userId="24a60029abdc116d" providerId="LiveId" clId="{B2B885B0-7DDD-40D5-9AC7-E0D47B22B6DA}" dt="2018-06-03T10:27:32.173" v="5885" actId="478"/>
          <ac:spMkLst>
            <pc:docMk/>
            <pc:sldMk cId="2274655035" sldId="325"/>
            <ac:spMk id="14" creationId="{73EED1EE-FC00-46CB-A2F6-510280BC9FBA}"/>
          </ac:spMkLst>
        </pc:spChg>
        <pc:spChg chg="del mod">
          <ac:chgData name="Alina D" userId="24a60029abdc116d" providerId="LiveId" clId="{B2B885B0-7DDD-40D5-9AC7-E0D47B22B6DA}" dt="2018-06-03T10:27:32.180" v="5892" actId="478"/>
          <ac:spMkLst>
            <pc:docMk/>
            <pc:sldMk cId="2274655035" sldId="325"/>
            <ac:spMk id="15" creationId="{46B85A56-4025-4B0F-A468-039EF1A304D9}"/>
          </ac:spMkLst>
        </pc:spChg>
        <pc:spChg chg="del mod">
          <ac:chgData name="Alina D" userId="24a60029abdc116d" providerId="LiveId" clId="{B2B885B0-7DDD-40D5-9AC7-E0D47B22B6DA}" dt="2018-06-03T10:27:32.196" v="5906" actId="478"/>
          <ac:spMkLst>
            <pc:docMk/>
            <pc:sldMk cId="2274655035" sldId="325"/>
            <ac:spMk id="16" creationId="{CF357F6A-D269-49B1-BC61-345002DC584C}"/>
          </ac:spMkLst>
        </pc:spChg>
        <pc:spChg chg="del mod">
          <ac:chgData name="Alina D" userId="24a60029abdc116d" providerId="LiveId" clId="{B2B885B0-7DDD-40D5-9AC7-E0D47B22B6DA}" dt="2018-06-03T10:27:32.210" v="5920" actId="478"/>
          <ac:spMkLst>
            <pc:docMk/>
            <pc:sldMk cId="2274655035" sldId="325"/>
            <ac:spMk id="17" creationId="{4C1B39FD-5E61-4525-A63E-B00F36BEB682}"/>
          </ac:spMkLst>
        </pc:spChg>
        <pc:spChg chg="del mod">
          <ac:chgData name="Alina D" userId="24a60029abdc116d" providerId="LiveId" clId="{B2B885B0-7DDD-40D5-9AC7-E0D47B22B6DA}" dt="2018-06-03T10:27:32.224" v="5934" actId="478"/>
          <ac:spMkLst>
            <pc:docMk/>
            <pc:sldMk cId="2274655035" sldId="325"/>
            <ac:spMk id="18" creationId="{3EB0E1EA-DDB2-4CB9-89F6-5FB075340610}"/>
          </ac:spMkLst>
        </pc:spChg>
        <pc:spChg chg="del mod">
          <ac:chgData name="Alina D" userId="24a60029abdc116d" providerId="LiveId" clId="{B2B885B0-7DDD-40D5-9AC7-E0D47B22B6DA}" dt="2018-06-03T10:27:32.239" v="5948" actId="478"/>
          <ac:spMkLst>
            <pc:docMk/>
            <pc:sldMk cId="2274655035" sldId="325"/>
            <ac:spMk id="19" creationId="{65E131D2-FE16-4356-9AB1-114347A9B9FB}"/>
          </ac:spMkLst>
        </pc:spChg>
        <pc:spChg chg="del mod">
          <ac:chgData name="Alina D" userId="24a60029abdc116d" providerId="LiveId" clId="{B2B885B0-7DDD-40D5-9AC7-E0D47B22B6DA}" dt="2018-06-03T10:27:32.248" v="5956" actId="478"/>
          <ac:spMkLst>
            <pc:docMk/>
            <pc:sldMk cId="2274655035" sldId="325"/>
            <ac:spMk id="20" creationId="{12DCC424-3BC7-4879-B563-48FF77FE40AB}"/>
          </ac:spMkLst>
        </pc:spChg>
        <pc:spChg chg="del mod">
          <ac:chgData name="Alina D" userId="24a60029abdc116d" providerId="LiveId" clId="{B2B885B0-7DDD-40D5-9AC7-E0D47B22B6DA}" dt="2018-06-03T10:27:32.256" v="5964" actId="478"/>
          <ac:spMkLst>
            <pc:docMk/>
            <pc:sldMk cId="2274655035" sldId="325"/>
            <ac:spMk id="21" creationId="{2522D488-265A-44AA-BD9B-6C7E0E5D9097}"/>
          </ac:spMkLst>
        </pc:spChg>
        <pc:spChg chg="del mod">
          <ac:chgData name="Alina D" userId="24a60029abdc116d" providerId="LiveId" clId="{B2B885B0-7DDD-40D5-9AC7-E0D47B22B6DA}" dt="2018-06-03T10:27:32.263" v="5971" actId="478"/>
          <ac:spMkLst>
            <pc:docMk/>
            <pc:sldMk cId="2274655035" sldId="325"/>
            <ac:spMk id="22" creationId="{DB66117D-68DC-495E-9A29-38C69227E983}"/>
          </ac:spMkLst>
        </pc:spChg>
        <pc:spChg chg="del mod">
          <ac:chgData name="Alina D" userId="24a60029abdc116d" providerId="LiveId" clId="{B2B885B0-7DDD-40D5-9AC7-E0D47B22B6DA}" dt="2018-06-03T10:27:32.271" v="5978" actId="478"/>
          <ac:spMkLst>
            <pc:docMk/>
            <pc:sldMk cId="2274655035" sldId="325"/>
            <ac:spMk id="23" creationId="{E54613AA-DC7E-4B67-8281-5000D0FF2603}"/>
          </ac:spMkLst>
        </pc:spChg>
        <pc:spChg chg="del mod">
          <ac:chgData name="Alina D" userId="24a60029abdc116d" providerId="LiveId" clId="{B2B885B0-7DDD-40D5-9AC7-E0D47B22B6DA}" dt="2018-06-03T10:27:32.285" v="5992" actId="478"/>
          <ac:spMkLst>
            <pc:docMk/>
            <pc:sldMk cId="2274655035" sldId="325"/>
            <ac:spMk id="24" creationId="{71375E11-3799-41F5-B0F4-8E140A056A8C}"/>
          </ac:spMkLst>
        </pc:spChg>
        <pc:spChg chg="del mod">
          <ac:chgData name="Alina D" userId="24a60029abdc116d" providerId="LiveId" clId="{B2B885B0-7DDD-40D5-9AC7-E0D47B22B6DA}" dt="2018-06-03T10:27:32.302" v="6006" actId="478"/>
          <ac:spMkLst>
            <pc:docMk/>
            <pc:sldMk cId="2274655035" sldId="325"/>
            <ac:spMk id="25" creationId="{F7585D69-40A2-4D93-804D-8975F4DE0934}"/>
          </ac:spMkLst>
        </pc:spChg>
        <pc:spChg chg="del mod">
          <ac:chgData name="Alina D" userId="24a60029abdc116d" providerId="LiveId" clId="{B2B885B0-7DDD-40D5-9AC7-E0D47B22B6DA}" dt="2018-06-03T10:27:32.316" v="6020" actId="478"/>
          <ac:spMkLst>
            <pc:docMk/>
            <pc:sldMk cId="2274655035" sldId="325"/>
            <ac:spMk id="26" creationId="{CE935C42-7368-492D-9C7D-FE660129DEC6}"/>
          </ac:spMkLst>
        </pc:spChg>
        <pc:spChg chg="del mod">
          <ac:chgData name="Alina D" userId="24a60029abdc116d" providerId="LiveId" clId="{B2B885B0-7DDD-40D5-9AC7-E0D47B22B6DA}" dt="2018-06-03T10:27:32.331" v="6034" actId="478"/>
          <ac:spMkLst>
            <pc:docMk/>
            <pc:sldMk cId="2274655035" sldId="325"/>
            <ac:spMk id="27" creationId="{07EE8114-22FD-4348-A765-A556B99ED278}"/>
          </ac:spMkLst>
        </pc:spChg>
        <pc:spChg chg="del mod">
          <ac:chgData name="Alina D" userId="24a60029abdc116d" providerId="LiveId" clId="{B2B885B0-7DDD-40D5-9AC7-E0D47B22B6DA}" dt="2018-06-03T10:27:32.340" v="6042" actId="478"/>
          <ac:spMkLst>
            <pc:docMk/>
            <pc:sldMk cId="2274655035" sldId="325"/>
            <ac:spMk id="28" creationId="{8E2735C9-A39D-473F-9E45-44BC6E508D5D}"/>
          </ac:spMkLst>
        </pc:spChg>
        <pc:spChg chg="del mod">
          <ac:chgData name="Alina D" userId="24a60029abdc116d" providerId="LiveId" clId="{B2B885B0-7DDD-40D5-9AC7-E0D47B22B6DA}" dt="2018-06-03T10:27:32.357" v="6050" actId="478"/>
          <ac:spMkLst>
            <pc:docMk/>
            <pc:sldMk cId="2274655035" sldId="325"/>
            <ac:spMk id="29" creationId="{6F2603D7-1826-4C10-95C5-C7586D389C00}"/>
          </ac:spMkLst>
        </pc:spChg>
        <pc:spChg chg="del mod">
          <ac:chgData name="Alina D" userId="24a60029abdc116d" providerId="LiveId" clId="{B2B885B0-7DDD-40D5-9AC7-E0D47B22B6DA}" dt="2018-06-03T10:27:32.367" v="6057" actId="478"/>
          <ac:spMkLst>
            <pc:docMk/>
            <pc:sldMk cId="2274655035" sldId="325"/>
            <ac:spMk id="30" creationId="{B008A381-8CDE-475C-BAE9-7638CFE069AD}"/>
          </ac:spMkLst>
        </pc:spChg>
        <pc:spChg chg="del mod">
          <ac:chgData name="Alina D" userId="24a60029abdc116d" providerId="LiveId" clId="{B2B885B0-7DDD-40D5-9AC7-E0D47B22B6DA}" dt="2018-06-03T10:27:32.376" v="6064" actId="478"/>
          <ac:spMkLst>
            <pc:docMk/>
            <pc:sldMk cId="2274655035" sldId="325"/>
            <ac:spMk id="31" creationId="{E1997895-4B3C-4E79-AFB5-35EA622B6E1C}"/>
          </ac:spMkLst>
        </pc:spChg>
        <pc:spChg chg="del mod">
          <ac:chgData name="Alina D" userId="24a60029abdc116d" providerId="LiveId" clId="{B2B885B0-7DDD-40D5-9AC7-E0D47B22B6DA}" dt="2018-06-03T10:27:32.390" v="6078" actId="478"/>
          <ac:spMkLst>
            <pc:docMk/>
            <pc:sldMk cId="2274655035" sldId="325"/>
            <ac:spMk id="32" creationId="{ABDE42AB-45EC-416B-9481-1B2521688228}"/>
          </ac:spMkLst>
        </pc:spChg>
        <pc:spChg chg="del mod">
          <ac:chgData name="Alina D" userId="24a60029abdc116d" providerId="LiveId" clId="{B2B885B0-7DDD-40D5-9AC7-E0D47B22B6DA}" dt="2018-06-03T10:27:32.405" v="6092" actId="478"/>
          <ac:spMkLst>
            <pc:docMk/>
            <pc:sldMk cId="2274655035" sldId="325"/>
            <ac:spMk id="33" creationId="{40E7C0BA-2457-4754-A3D7-010C4C6D131B}"/>
          </ac:spMkLst>
        </pc:spChg>
        <pc:spChg chg="del mod">
          <ac:chgData name="Alina D" userId="24a60029abdc116d" providerId="LiveId" clId="{B2B885B0-7DDD-40D5-9AC7-E0D47B22B6DA}" dt="2018-06-03T10:27:32.419" v="6106" actId="478"/>
          <ac:spMkLst>
            <pc:docMk/>
            <pc:sldMk cId="2274655035" sldId="325"/>
            <ac:spMk id="34" creationId="{61DFF78B-8588-4262-A9C6-9F52F3019F4A}"/>
          </ac:spMkLst>
        </pc:spChg>
        <pc:spChg chg="del mod">
          <ac:chgData name="Alina D" userId="24a60029abdc116d" providerId="LiveId" clId="{B2B885B0-7DDD-40D5-9AC7-E0D47B22B6DA}" dt="2018-06-03T10:27:32.433" v="6120" actId="478"/>
          <ac:spMkLst>
            <pc:docMk/>
            <pc:sldMk cId="2274655035" sldId="325"/>
            <ac:spMk id="35" creationId="{ED8428F6-CC50-402D-AAFF-E659F1A11423}"/>
          </ac:spMkLst>
        </pc:spChg>
        <pc:spChg chg="del mod">
          <ac:chgData name="Alina D" userId="24a60029abdc116d" providerId="LiveId" clId="{B2B885B0-7DDD-40D5-9AC7-E0D47B22B6DA}" dt="2018-06-03T10:27:32.441" v="6128" actId="478"/>
          <ac:spMkLst>
            <pc:docMk/>
            <pc:sldMk cId="2274655035" sldId="325"/>
            <ac:spMk id="36" creationId="{623D8B8D-B608-41B2-8679-7A9B50FC96AE}"/>
          </ac:spMkLst>
        </pc:spChg>
        <pc:spChg chg="del mod">
          <ac:chgData name="Alina D" userId="24a60029abdc116d" providerId="LiveId" clId="{B2B885B0-7DDD-40D5-9AC7-E0D47B22B6DA}" dt="2018-06-03T10:27:32.449" v="6136" actId="478"/>
          <ac:spMkLst>
            <pc:docMk/>
            <pc:sldMk cId="2274655035" sldId="325"/>
            <ac:spMk id="37" creationId="{F5D4A084-8751-4360-943B-B0945CE93666}"/>
          </ac:spMkLst>
        </pc:spChg>
        <pc:spChg chg="del mod">
          <ac:chgData name="Alina D" userId="24a60029abdc116d" providerId="LiveId" clId="{B2B885B0-7DDD-40D5-9AC7-E0D47B22B6DA}" dt="2018-06-03T10:27:32.457" v="6143" actId="478"/>
          <ac:spMkLst>
            <pc:docMk/>
            <pc:sldMk cId="2274655035" sldId="325"/>
            <ac:spMk id="38" creationId="{EB20A655-FFC1-4F49-8368-ACEDA5FF4A58}"/>
          </ac:spMkLst>
        </pc:spChg>
        <pc:spChg chg="del mod">
          <ac:chgData name="Alina D" userId="24a60029abdc116d" providerId="LiveId" clId="{B2B885B0-7DDD-40D5-9AC7-E0D47B22B6DA}" dt="2018-06-03T10:27:32.463" v="6150" actId="478"/>
          <ac:spMkLst>
            <pc:docMk/>
            <pc:sldMk cId="2274655035" sldId="325"/>
            <ac:spMk id="39" creationId="{596A8BB5-4FD1-454C-8471-BB1C09AA6184}"/>
          </ac:spMkLst>
        </pc:spChg>
        <pc:spChg chg="del mod">
          <ac:chgData name="Alina D" userId="24a60029abdc116d" providerId="LiveId" clId="{B2B885B0-7DDD-40D5-9AC7-E0D47B22B6DA}" dt="2018-06-03T10:27:32.477" v="6164" actId="478"/>
          <ac:spMkLst>
            <pc:docMk/>
            <pc:sldMk cId="2274655035" sldId="325"/>
            <ac:spMk id="40" creationId="{DA286BA8-1472-4A45-8A5E-AF6766209CBF}"/>
          </ac:spMkLst>
        </pc:spChg>
        <pc:spChg chg="del mod">
          <ac:chgData name="Alina D" userId="24a60029abdc116d" providerId="LiveId" clId="{B2B885B0-7DDD-40D5-9AC7-E0D47B22B6DA}" dt="2018-06-03T10:27:32.493" v="6178" actId="478"/>
          <ac:spMkLst>
            <pc:docMk/>
            <pc:sldMk cId="2274655035" sldId="325"/>
            <ac:spMk id="41" creationId="{30576B0D-1EEB-4D6B-BB42-B9FF850143A9}"/>
          </ac:spMkLst>
        </pc:spChg>
        <pc:spChg chg="del mod">
          <ac:chgData name="Alina D" userId="24a60029abdc116d" providerId="LiveId" clId="{B2B885B0-7DDD-40D5-9AC7-E0D47B22B6DA}" dt="2018-06-03T10:27:32.508" v="6192" actId="478"/>
          <ac:spMkLst>
            <pc:docMk/>
            <pc:sldMk cId="2274655035" sldId="325"/>
            <ac:spMk id="42" creationId="{10D9EB0A-2C0E-49FE-8B70-931719091B1A}"/>
          </ac:spMkLst>
        </pc:spChg>
        <pc:spChg chg="del mod">
          <ac:chgData name="Alina D" userId="24a60029abdc116d" providerId="LiveId" clId="{B2B885B0-7DDD-40D5-9AC7-E0D47B22B6DA}" dt="2018-06-03T10:27:32.522" v="6206" actId="478"/>
          <ac:spMkLst>
            <pc:docMk/>
            <pc:sldMk cId="2274655035" sldId="325"/>
            <ac:spMk id="43" creationId="{49D41DB3-948F-43EF-B136-27480B55F547}"/>
          </ac:spMkLst>
        </pc:spChg>
        <pc:spChg chg="del mod">
          <ac:chgData name="Alina D" userId="24a60029abdc116d" providerId="LiveId" clId="{B2B885B0-7DDD-40D5-9AC7-E0D47B22B6DA}" dt="2018-06-03T10:27:32.531" v="6214" actId="478"/>
          <ac:spMkLst>
            <pc:docMk/>
            <pc:sldMk cId="2274655035" sldId="325"/>
            <ac:spMk id="44" creationId="{C4F020DB-2537-4C33-A394-E8D194AC267C}"/>
          </ac:spMkLst>
        </pc:spChg>
        <pc:spChg chg="del mod">
          <ac:chgData name="Alina D" userId="24a60029abdc116d" providerId="LiveId" clId="{B2B885B0-7DDD-40D5-9AC7-E0D47B22B6DA}" dt="2018-06-03T10:27:32.538" v="6222" actId="478"/>
          <ac:spMkLst>
            <pc:docMk/>
            <pc:sldMk cId="2274655035" sldId="325"/>
            <ac:spMk id="45" creationId="{F0F7A797-D114-4991-875C-F593B0DA840D}"/>
          </ac:spMkLst>
        </pc:spChg>
        <pc:spChg chg="del mod">
          <ac:chgData name="Alina D" userId="24a60029abdc116d" providerId="LiveId" clId="{B2B885B0-7DDD-40D5-9AC7-E0D47B22B6DA}" dt="2018-06-03T10:27:32.546" v="6229" actId="478"/>
          <ac:spMkLst>
            <pc:docMk/>
            <pc:sldMk cId="2274655035" sldId="325"/>
            <ac:spMk id="46" creationId="{9445D47F-301C-40E4-854A-5C27BFC8DE81}"/>
          </ac:spMkLst>
        </pc:spChg>
        <pc:spChg chg="del mod">
          <ac:chgData name="Alina D" userId="24a60029abdc116d" providerId="LiveId" clId="{B2B885B0-7DDD-40D5-9AC7-E0D47B22B6DA}" dt="2018-06-03T10:27:32.553" v="6236" actId="478"/>
          <ac:spMkLst>
            <pc:docMk/>
            <pc:sldMk cId="2274655035" sldId="325"/>
            <ac:spMk id="47" creationId="{F597C588-E1FB-4A13-8697-ACAA445D0FF5}"/>
          </ac:spMkLst>
        </pc:spChg>
        <pc:spChg chg="del mod">
          <ac:chgData name="Alina D" userId="24a60029abdc116d" providerId="LiveId" clId="{B2B885B0-7DDD-40D5-9AC7-E0D47B22B6DA}" dt="2018-06-03T10:27:32.579" v="6265" actId="478"/>
          <ac:spMkLst>
            <pc:docMk/>
            <pc:sldMk cId="2274655035" sldId="325"/>
            <ac:spMk id="48" creationId="{E9A52729-5FC5-46DC-AAB9-0985766C8877}"/>
          </ac:spMkLst>
        </pc:spChg>
        <pc:cxnChg chg="del">
          <ac:chgData name="Alina D" userId="24a60029abdc116d" providerId="LiveId" clId="{B2B885B0-7DDD-40D5-9AC7-E0D47B22B6DA}" dt="2018-06-03T10:27:33.616" v="7157" actId="478"/>
          <ac:cxnSpMkLst>
            <pc:docMk/>
            <pc:sldMk cId="2274655035" sldId="325"/>
            <ac:cxnSpMk id="5" creationId="{0DA316B0-D860-44EE-ABFD-C07912BBC953}"/>
          </ac:cxnSpMkLst>
        </pc:cxnChg>
        <pc:cxnChg chg="del mod">
          <ac:chgData name="Alina D" userId="24a60029abdc116d" providerId="LiveId" clId="{B2B885B0-7DDD-40D5-9AC7-E0D47B22B6DA}" dt="2018-06-03T10:27:31.995" v="5746" actId="478"/>
          <ac:cxnSpMkLst>
            <pc:docMk/>
            <pc:sldMk cId="2274655035" sldId="325"/>
            <ac:cxnSpMk id="7" creationId="{35BE2912-91EB-4085-94F3-6B0D602AD465}"/>
          </ac:cxnSpMkLst>
        </pc:cxnChg>
        <pc:cxnChg chg="del">
          <ac:chgData name="Alina D" userId="24a60029abdc116d" providerId="LiveId" clId="{B2B885B0-7DDD-40D5-9AC7-E0D47B22B6DA}" dt="2018-06-03T10:27:32.580" v="6266" actId="478"/>
          <ac:cxnSpMkLst>
            <pc:docMk/>
            <pc:sldMk cId="2274655035" sldId="325"/>
            <ac:cxnSpMk id="49" creationId="{F95F2016-2312-4C9B-A2BE-FF818AC376F5}"/>
          </ac:cxnSpMkLst>
        </pc:cxnChg>
      </pc:sldChg>
      <pc:sldChg chg="delSp modSp del">
        <pc:chgData name="Alina D" userId="24a60029abdc116d" providerId="LiveId" clId="{B2B885B0-7DDD-40D5-9AC7-E0D47B22B6DA}" dt="2018-06-03T10:52:28.599" v="8267" actId="2696"/>
        <pc:sldMkLst>
          <pc:docMk/>
          <pc:sldMk cId="3958219967" sldId="325"/>
        </pc:sldMkLst>
        <pc:spChg chg="del">
          <ac:chgData name="Alina D" userId="24a60029abdc116d" providerId="LiveId" clId="{B2B885B0-7DDD-40D5-9AC7-E0D47B22B6DA}" dt="2018-06-03T10:52:28.596" v="8265" actId="478"/>
          <ac:spMkLst>
            <pc:docMk/>
            <pc:sldMk cId="3958219967" sldId="325"/>
            <ac:spMk id="4" creationId="{CE27618C-3A09-4B45-BCF0-81C2852F5736}"/>
          </ac:spMkLst>
        </pc:spChg>
        <pc:spChg chg="del mod">
          <ac:chgData name="Alina D" userId="24a60029abdc116d" providerId="LiveId" clId="{B2B885B0-7DDD-40D5-9AC7-E0D47B22B6DA}" dt="2018-06-03T10:52:27.367" v="7222" actId="478"/>
          <ac:spMkLst>
            <pc:docMk/>
            <pc:sldMk cId="3958219967" sldId="325"/>
            <ac:spMk id="6" creationId="{2E446316-A388-40C9-8A31-7ED7FDDC7D27}"/>
          </ac:spMkLst>
        </pc:spChg>
        <pc:spChg chg="del mod">
          <ac:chgData name="Alina D" userId="24a60029abdc116d" providerId="LiveId" clId="{B2B885B0-7DDD-40D5-9AC7-E0D47B22B6DA}" dt="2018-06-03T10:52:27.466" v="7298" actId="478"/>
          <ac:spMkLst>
            <pc:docMk/>
            <pc:sldMk cId="3958219967" sldId="325"/>
            <ac:spMk id="8" creationId="{CF8F0639-554A-4E09-825D-FA5C965CC74F}"/>
          </ac:spMkLst>
        </pc:spChg>
        <pc:spChg chg="del mod">
          <ac:chgData name="Alina D" userId="24a60029abdc116d" providerId="LiveId" clId="{B2B885B0-7DDD-40D5-9AC7-E0D47B22B6DA}" dt="2018-06-03T10:52:27.482" v="7312" actId="478"/>
          <ac:spMkLst>
            <pc:docMk/>
            <pc:sldMk cId="3958219967" sldId="325"/>
            <ac:spMk id="9" creationId="{935C36A2-FDEF-489F-85E0-680A4F018281}"/>
          </ac:spMkLst>
        </pc:spChg>
        <pc:spChg chg="del mod">
          <ac:chgData name="Alina D" userId="24a60029abdc116d" providerId="LiveId" clId="{B2B885B0-7DDD-40D5-9AC7-E0D47B22B6DA}" dt="2018-06-03T10:52:27.499" v="7326" actId="478"/>
          <ac:spMkLst>
            <pc:docMk/>
            <pc:sldMk cId="3958219967" sldId="325"/>
            <ac:spMk id="10" creationId="{312506B2-02D7-44EB-B875-7466CCC26211}"/>
          </ac:spMkLst>
        </pc:spChg>
        <pc:spChg chg="del mod">
          <ac:chgData name="Alina D" userId="24a60029abdc116d" providerId="LiveId" clId="{B2B885B0-7DDD-40D5-9AC7-E0D47B22B6DA}" dt="2018-06-03T10:52:27.515" v="7340" actId="478"/>
          <ac:spMkLst>
            <pc:docMk/>
            <pc:sldMk cId="3958219967" sldId="325"/>
            <ac:spMk id="11" creationId="{8EFF4C25-670C-4F90-A2F9-9B84B2F45129}"/>
          </ac:spMkLst>
        </pc:spChg>
        <pc:spChg chg="del mod">
          <ac:chgData name="Alina D" userId="24a60029abdc116d" providerId="LiveId" clId="{B2B885B0-7DDD-40D5-9AC7-E0D47B22B6DA}" dt="2018-06-03T10:52:27.523" v="7348" actId="478"/>
          <ac:spMkLst>
            <pc:docMk/>
            <pc:sldMk cId="3958219967" sldId="325"/>
            <ac:spMk id="12" creationId="{723DBBF3-45F7-46A4-B430-DAADD9B6154E}"/>
          </ac:spMkLst>
        </pc:spChg>
        <pc:spChg chg="del mod">
          <ac:chgData name="Alina D" userId="24a60029abdc116d" providerId="LiveId" clId="{B2B885B0-7DDD-40D5-9AC7-E0D47B22B6DA}" dt="2018-06-03T10:52:27.531" v="7356" actId="478"/>
          <ac:spMkLst>
            <pc:docMk/>
            <pc:sldMk cId="3958219967" sldId="325"/>
            <ac:spMk id="13" creationId="{23223BD6-7412-41C8-B93F-BCE40843A4F7}"/>
          </ac:spMkLst>
        </pc:spChg>
        <pc:spChg chg="del mod">
          <ac:chgData name="Alina D" userId="24a60029abdc116d" providerId="LiveId" clId="{B2B885B0-7DDD-40D5-9AC7-E0D47B22B6DA}" dt="2018-06-03T10:52:27.539" v="7363" actId="478"/>
          <ac:spMkLst>
            <pc:docMk/>
            <pc:sldMk cId="3958219967" sldId="325"/>
            <ac:spMk id="14" creationId="{2B8CF289-4F42-4A2B-AB59-FC229860FDCE}"/>
          </ac:spMkLst>
        </pc:spChg>
        <pc:spChg chg="del mod">
          <ac:chgData name="Alina D" userId="24a60029abdc116d" providerId="LiveId" clId="{B2B885B0-7DDD-40D5-9AC7-E0D47B22B6DA}" dt="2018-06-03T10:52:27.547" v="7370" actId="478"/>
          <ac:spMkLst>
            <pc:docMk/>
            <pc:sldMk cId="3958219967" sldId="325"/>
            <ac:spMk id="15" creationId="{AFC36AB1-3D52-4BED-BF90-264913D1C51D}"/>
          </ac:spMkLst>
        </pc:spChg>
        <pc:spChg chg="del mod">
          <ac:chgData name="Alina D" userId="24a60029abdc116d" providerId="LiveId" clId="{B2B885B0-7DDD-40D5-9AC7-E0D47B22B6DA}" dt="2018-06-03T10:52:27.562" v="7384" actId="478"/>
          <ac:spMkLst>
            <pc:docMk/>
            <pc:sldMk cId="3958219967" sldId="325"/>
            <ac:spMk id="16" creationId="{02467765-6621-4F28-8ADA-A19C72B7E151}"/>
          </ac:spMkLst>
        </pc:spChg>
        <pc:spChg chg="del mod">
          <ac:chgData name="Alina D" userId="24a60029abdc116d" providerId="LiveId" clId="{B2B885B0-7DDD-40D5-9AC7-E0D47B22B6DA}" dt="2018-06-03T10:52:27.577" v="7398" actId="478"/>
          <ac:spMkLst>
            <pc:docMk/>
            <pc:sldMk cId="3958219967" sldId="325"/>
            <ac:spMk id="17" creationId="{EA488F4C-F36B-49B6-9B89-776B44F662D1}"/>
          </ac:spMkLst>
        </pc:spChg>
        <pc:spChg chg="del mod">
          <ac:chgData name="Alina D" userId="24a60029abdc116d" providerId="LiveId" clId="{B2B885B0-7DDD-40D5-9AC7-E0D47B22B6DA}" dt="2018-06-03T10:52:27.591" v="7412" actId="478"/>
          <ac:spMkLst>
            <pc:docMk/>
            <pc:sldMk cId="3958219967" sldId="325"/>
            <ac:spMk id="18" creationId="{0D36723F-39F5-4CFB-A9AA-FF9FDDCC4FEB}"/>
          </ac:spMkLst>
        </pc:spChg>
        <pc:spChg chg="del mod">
          <ac:chgData name="Alina D" userId="24a60029abdc116d" providerId="LiveId" clId="{B2B885B0-7DDD-40D5-9AC7-E0D47B22B6DA}" dt="2018-06-03T10:52:27.607" v="7426" actId="478"/>
          <ac:spMkLst>
            <pc:docMk/>
            <pc:sldMk cId="3958219967" sldId="325"/>
            <ac:spMk id="19" creationId="{2F897F5D-D758-49B9-A4C6-249DBF957C35}"/>
          </ac:spMkLst>
        </pc:spChg>
        <pc:spChg chg="del mod">
          <ac:chgData name="Alina D" userId="24a60029abdc116d" providerId="LiveId" clId="{B2B885B0-7DDD-40D5-9AC7-E0D47B22B6DA}" dt="2018-06-03T10:52:27.617" v="7434" actId="478"/>
          <ac:spMkLst>
            <pc:docMk/>
            <pc:sldMk cId="3958219967" sldId="325"/>
            <ac:spMk id="20" creationId="{4A7D08FE-4EA0-47FE-A5D9-413F188D0408}"/>
          </ac:spMkLst>
        </pc:spChg>
        <pc:spChg chg="del mod">
          <ac:chgData name="Alina D" userId="24a60029abdc116d" providerId="LiveId" clId="{B2B885B0-7DDD-40D5-9AC7-E0D47B22B6DA}" dt="2018-06-03T10:52:27.627" v="7442" actId="478"/>
          <ac:spMkLst>
            <pc:docMk/>
            <pc:sldMk cId="3958219967" sldId="325"/>
            <ac:spMk id="21" creationId="{D4D731BE-5AC8-4F02-B21F-20ECDB075FEB}"/>
          </ac:spMkLst>
        </pc:spChg>
        <pc:spChg chg="del mod">
          <ac:chgData name="Alina D" userId="24a60029abdc116d" providerId="LiveId" clId="{B2B885B0-7DDD-40D5-9AC7-E0D47B22B6DA}" dt="2018-06-03T10:52:27.635" v="7449" actId="478"/>
          <ac:spMkLst>
            <pc:docMk/>
            <pc:sldMk cId="3958219967" sldId="325"/>
            <ac:spMk id="22" creationId="{F6E7FF84-858C-48F6-9B2D-444304BB14D8}"/>
          </ac:spMkLst>
        </pc:spChg>
        <pc:spChg chg="del mod">
          <ac:chgData name="Alina D" userId="24a60029abdc116d" providerId="LiveId" clId="{B2B885B0-7DDD-40D5-9AC7-E0D47B22B6DA}" dt="2018-06-03T10:52:27.643" v="7456" actId="478"/>
          <ac:spMkLst>
            <pc:docMk/>
            <pc:sldMk cId="3958219967" sldId="325"/>
            <ac:spMk id="23" creationId="{9217209E-51F6-4FA6-A2ED-E02FE4C8F90F}"/>
          </ac:spMkLst>
        </pc:spChg>
        <pc:spChg chg="del mod">
          <ac:chgData name="Alina D" userId="24a60029abdc116d" providerId="LiveId" clId="{B2B885B0-7DDD-40D5-9AC7-E0D47B22B6DA}" dt="2018-06-03T10:52:27.659" v="7470" actId="478"/>
          <ac:spMkLst>
            <pc:docMk/>
            <pc:sldMk cId="3958219967" sldId="325"/>
            <ac:spMk id="24" creationId="{E3FE1BE1-6406-4048-829D-523F89EA5107}"/>
          </ac:spMkLst>
        </pc:spChg>
        <pc:spChg chg="del mod">
          <ac:chgData name="Alina D" userId="24a60029abdc116d" providerId="LiveId" clId="{B2B885B0-7DDD-40D5-9AC7-E0D47B22B6DA}" dt="2018-06-03T10:52:27.679" v="7484" actId="478"/>
          <ac:spMkLst>
            <pc:docMk/>
            <pc:sldMk cId="3958219967" sldId="325"/>
            <ac:spMk id="25" creationId="{9B2030E1-5579-441D-905A-E8A30AAB3879}"/>
          </ac:spMkLst>
        </pc:spChg>
        <pc:spChg chg="del mod">
          <ac:chgData name="Alina D" userId="24a60029abdc116d" providerId="LiveId" clId="{B2B885B0-7DDD-40D5-9AC7-E0D47B22B6DA}" dt="2018-06-03T10:52:27.693" v="7498" actId="478"/>
          <ac:spMkLst>
            <pc:docMk/>
            <pc:sldMk cId="3958219967" sldId="325"/>
            <ac:spMk id="26" creationId="{336531D3-BFDC-4587-8A1F-67330E66A908}"/>
          </ac:spMkLst>
        </pc:spChg>
        <pc:spChg chg="del mod">
          <ac:chgData name="Alina D" userId="24a60029abdc116d" providerId="LiveId" clId="{B2B885B0-7DDD-40D5-9AC7-E0D47B22B6DA}" dt="2018-06-03T10:52:27.708" v="7512" actId="478"/>
          <ac:spMkLst>
            <pc:docMk/>
            <pc:sldMk cId="3958219967" sldId="325"/>
            <ac:spMk id="27" creationId="{BC0945CB-BEB1-44AE-AE5F-23CA29DB58CD}"/>
          </ac:spMkLst>
        </pc:spChg>
        <pc:spChg chg="del mod">
          <ac:chgData name="Alina D" userId="24a60029abdc116d" providerId="LiveId" clId="{B2B885B0-7DDD-40D5-9AC7-E0D47B22B6DA}" dt="2018-06-03T10:52:27.720" v="7520" actId="478"/>
          <ac:spMkLst>
            <pc:docMk/>
            <pc:sldMk cId="3958219967" sldId="325"/>
            <ac:spMk id="28" creationId="{F5ABB723-F93E-40E9-99AF-299BC2D93608}"/>
          </ac:spMkLst>
        </pc:spChg>
        <pc:spChg chg="del mod">
          <ac:chgData name="Alina D" userId="24a60029abdc116d" providerId="LiveId" clId="{B2B885B0-7DDD-40D5-9AC7-E0D47B22B6DA}" dt="2018-06-03T10:52:27.731" v="7528" actId="478"/>
          <ac:spMkLst>
            <pc:docMk/>
            <pc:sldMk cId="3958219967" sldId="325"/>
            <ac:spMk id="29" creationId="{F3B8DC64-ED0F-49B8-92D6-C0137A30980C}"/>
          </ac:spMkLst>
        </pc:spChg>
        <pc:spChg chg="del mod">
          <ac:chgData name="Alina D" userId="24a60029abdc116d" providerId="LiveId" clId="{B2B885B0-7DDD-40D5-9AC7-E0D47B22B6DA}" dt="2018-06-03T10:52:27.738" v="7535" actId="478"/>
          <ac:spMkLst>
            <pc:docMk/>
            <pc:sldMk cId="3958219967" sldId="325"/>
            <ac:spMk id="30" creationId="{E2883913-549B-44E7-A22F-C49C11D4EF42}"/>
          </ac:spMkLst>
        </pc:spChg>
        <pc:spChg chg="del mod">
          <ac:chgData name="Alina D" userId="24a60029abdc116d" providerId="LiveId" clId="{B2B885B0-7DDD-40D5-9AC7-E0D47B22B6DA}" dt="2018-06-03T10:52:27.748" v="7542" actId="478"/>
          <ac:spMkLst>
            <pc:docMk/>
            <pc:sldMk cId="3958219967" sldId="325"/>
            <ac:spMk id="31" creationId="{74179F1B-0A62-49B9-B789-B3CC2D4F6DBA}"/>
          </ac:spMkLst>
        </pc:spChg>
        <pc:spChg chg="del mod">
          <ac:chgData name="Alina D" userId="24a60029abdc116d" providerId="LiveId" clId="{B2B885B0-7DDD-40D5-9AC7-E0D47B22B6DA}" dt="2018-06-03T10:52:27.766" v="7556" actId="478"/>
          <ac:spMkLst>
            <pc:docMk/>
            <pc:sldMk cId="3958219967" sldId="325"/>
            <ac:spMk id="32" creationId="{94B771CE-5FDF-4A61-AD91-F02D790062EF}"/>
          </ac:spMkLst>
        </pc:spChg>
        <pc:spChg chg="del mod">
          <ac:chgData name="Alina D" userId="24a60029abdc116d" providerId="LiveId" clId="{B2B885B0-7DDD-40D5-9AC7-E0D47B22B6DA}" dt="2018-06-03T10:52:27.781" v="7570" actId="478"/>
          <ac:spMkLst>
            <pc:docMk/>
            <pc:sldMk cId="3958219967" sldId="325"/>
            <ac:spMk id="33" creationId="{F8392CA4-0B1D-4BC5-A7C0-305881E68147}"/>
          </ac:spMkLst>
        </pc:spChg>
        <pc:spChg chg="del mod">
          <ac:chgData name="Alina D" userId="24a60029abdc116d" providerId="LiveId" clId="{B2B885B0-7DDD-40D5-9AC7-E0D47B22B6DA}" dt="2018-06-03T10:52:27.819" v="7584" actId="478"/>
          <ac:spMkLst>
            <pc:docMk/>
            <pc:sldMk cId="3958219967" sldId="325"/>
            <ac:spMk id="34" creationId="{3917CA57-F319-4744-8CC9-BD663290ED68}"/>
          </ac:spMkLst>
        </pc:spChg>
        <pc:spChg chg="del mod">
          <ac:chgData name="Alina D" userId="24a60029abdc116d" providerId="LiveId" clId="{B2B885B0-7DDD-40D5-9AC7-E0D47B22B6DA}" dt="2018-06-03T10:52:27.833" v="7598" actId="478"/>
          <ac:spMkLst>
            <pc:docMk/>
            <pc:sldMk cId="3958219967" sldId="325"/>
            <ac:spMk id="35" creationId="{5A9188D2-B851-4440-8EA6-12473AC2D165}"/>
          </ac:spMkLst>
        </pc:spChg>
        <pc:spChg chg="del mod">
          <ac:chgData name="Alina D" userId="24a60029abdc116d" providerId="LiveId" clId="{B2B885B0-7DDD-40D5-9AC7-E0D47B22B6DA}" dt="2018-06-03T10:52:27.841" v="7606" actId="478"/>
          <ac:spMkLst>
            <pc:docMk/>
            <pc:sldMk cId="3958219967" sldId="325"/>
            <ac:spMk id="36" creationId="{7A2F0CD4-FBDC-4E70-8898-640EAAFEA49D}"/>
          </ac:spMkLst>
        </pc:spChg>
        <pc:spChg chg="del mod">
          <ac:chgData name="Alina D" userId="24a60029abdc116d" providerId="LiveId" clId="{B2B885B0-7DDD-40D5-9AC7-E0D47B22B6DA}" dt="2018-06-03T10:52:27.850" v="7614" actId="478"/>
          <ac:spMkLst>
            <pc:docMk/>
            <pc:sldMk cId="3958219967" sldId="325"/>
            <ac:spMk id="37" creationId="{EF8B4D9B-F398-41A7-B136-944866547B30}"/>
          </ac:spMkLst>
        </pc:spChg>
        <pc:spChg chg="del mod">
          <ac:chgData name="Alina D" userId="24a60029abdc116d" providerId="LiveId" clId="{B2B885B0-7DDD-40D5-9AC7-E0D47B22B6DA}" dt="2018-06-03T10:52:27.858" v="7621" actId="478"/>
          <ac:spMkLst>
            <pc:docMk/>
            <pc:sldMk cId="3958219967" sldId="325"/>
            <ac:spMk id="38" creationId="{827260B2-DDA5-4164-82B6-3E62EC655903}"/>
          </ac:spMkLst>
        </pc:spChg>
        <pc:spChg chg="del mod">
          <ac:chgData name="Alina D" userId="24a60029abdc116d" providerId="LiveId" clId="{B2B885B0-7DDD-40D5-9AC7-E0D47B22B6DA}" dt="2018-06-03T10:52:27.865" v="7628" actId="478"/>
          <ac:spMkLst>
            <pc:docMk/>
            <pc:sldMk cId="3958219967" sldId="325"/>
            <ac:spMk id="39" creationId="{4610D371-487E-4939-974F-DACAF1BCB411}"/>
          </ac:spMkLst>
        </pc:spChg>
        <pc:spChg chg="del mod">
          <ac:chgData name="Alina D" userId="24a60029abdc116d" providerId="LiveId" clId="{B2B885B0-7DDD-40D5-9AC7-E0D47B22B6DA}" dt="2018-06-03T10:52:27.892" v="7657" actId="478"/>
          <ac:spMkLst>
            <pc:docMk/>
            <pc:sldMk cId="3958219967" sldId="325"/>
            <ac:spMk id="40" creationId="{8CE82E5A-F8EC-43C5-AB37-AD1E31AD4416}"/>
          </ac:spMkLst>
        </pc:spChg>
        <pc:cxnChg chg="del">
          <ac:chgData name="Alina D" userId="24a60029abdc116d" providerId="LiveId" clId="{B2B885B0-7DDD-40D5-9AC7-E0D47B22B6DA}" dt="2018-06-03T10:52:28.596" v="8266" actId="478"/>
          <ac:cxnSpMkLst>
            <pc:docMk/>
            <pc:sldMk cId="3958219967" sldId="325"/>
            <ac:cxnSpMk id="5" creationId="{BE8620BD-FA40-4BF1-B684-5A7563D112B6}"/>
          </ac:cxnSpMkLst>
        </pc:cxnChg>
        <pc:cxnChg chg="del mod">
          <ac:chgData name="Alina D" userId="24a60029abdc116d" providerId="LiveId" clId="{B2B885B0-7DDD-40D5-9AC7-E0D47B22B6DA}" dt="2018-06-03T10:52:27.371" v="7224" actId="478"/>
          <ac:cxnSpMkLst>
            <pc:docMk/>
            <pc:sldMk cId="3958219967" sldId="325"/>
            <ac:cxnSpMk id="7" creationId="{3E557F3B-B9A7-4DBA-AB7E-65E8F2C88963}"/>
          </ac:cxnSpMkLst>
        </pc:cxnChg>
        <pc:cxnChg chg="del">
          <ac:chgData name="Alina D" userId="24a60029abdc116d" providerId="LiveId" clId="{B2B885B0-7DDD-40D5-9AC7-E0D47B22B6DA}" dt="2018-06-03T10:52:27.895" v="7658" actId="478"/>
          <ac:cxnSpMkLst>
            <pc:docMk/>
            <pc:sldMk cId="3958219967" sldId="325"/>
            <ac:cxnSpMk id="41" creationId="{A724D6CF-04BA-4521-A9CA-52BB7F153B41}"/>
          </ac:cxnSpMkLst>
        </pc:cxnChg>
      </pc:sldChg>
      <pc:sldChg chg="delSp modSp del">
        <pc:chgData name="Alina D" userId="24a60029abdc116d" providerId="LiveId" clId="{B2B885B0-7DDD-40D5-9AC7-E0D47B22B6DA}" dt="2018-06-03T10:52:28.593" v="8264" actId="2696"/>
        <pc:sldMkLst>
          <pc:docMk/>
          <pc:sldMk cId="1662114666" sldId="326"/>
        </pc:sldMkLst>
        <pc:spChg chg="del">
          <ac:chgData name="Alina D" userId="24a60029abdc116d" providerId="LiveId" clId="{B2B885B0-7DDD-40D5-9AC7-E0D47B22B6DA}" dt="2018-06-03T10:52:28.589" v="8262" actId="478"/>
          <ac:spMkLst>
            <pc:docMk/>
            <pc:sldMk cId="1662114666" sldId="326"/>
            <ac:spMk id="4" creationId="{98382EF1-2217-404F-BD53-B23A1837AE95}"/>
          </ac:spMkLst>
        </pc:spChg>
        <pc:spChg chg="del mod">
          <ac:chgData name="Alina D" userId="24a60029abdc116d" providerId="LiveId" clId="{B2B885B0-7DDD-40D5-9AC7-E0D47B22B6DA}" dt="2018-06-03T10:52:27.414" v="7253" actId="478"/>
          <ac:spMkLst>
            <pc:docMk/>
            <pc:sldMk cId="1662114666" sldId="326"/>
            <ac:spMk id="6" creationId="{76D5EB6E-0E22-4BF2-BAC9-80836E1F604C}"/>
          </ac:spMkLst>
        </pc:spChg>
        <pc:cxnChg chg="del">
          <ac:chgData name="Alina D" userId="24a60029abdc116d" providerId="LiveId" clId="{B2B885B0-7DDD-40D5-9AC7-E0D47B22B6DA}" dt="2018-06-03T10:52:28.590" v="8263" actId="478"/>
          <ac:cxnSpMkLst>
            <pc:docMk/>
            <pc:sldMk cId="1662114666" sldId="326"/>
            <ac:cxnSpMk id="5" creationId="{1660E7B2-7A0B-43DD-BDA7-2B554C2B6BA0}"/>
          </ac:cxnSpMkLst>
        </pc:cxnChg>
        <pc:cxnChg chg="del">
          <ac:chgData name="Alina D" userId="24a60029abdc116d" providerId="LiveId" clId="{B2B885B0-7DDD-40D5-9AC7-E0D47B22B6DA}" dt="2018-06-03T10:52:27.416" v="7254" actId="478"/>
          <ac:cxnSpMkLst>
            <pc:docMk/>
            <pc:sldMk cId="1662114666" sldId="326"/>
            <ac:cxnSpMk id="7" creationId="{D0389004-6F41-4FAC-81E3-CA5638F269F8}"/>
          </ac:cxnSpMkLst>
        </pc:cxnChg>
      </pc:sldChg>
      <pc:sldChg chg="delSp modSp del">
        <pc:chgData name="Alina D" userId="24a60029abdc116d" providerId="LiveId" clId="{B2B885B0-7DDD-40D5-9AC7-E0D47B22B6DA}" dt="2018-06-03T10:27:33.613" v="7155" actId="2696"/>
        <pc:sldMkLst>
          <pc:docMk/>
          <pc:sldMk cId="3626715818" sldId="326"/>
        </pc:sldMkLst>
        <pc:spChg chg="del">
          <ac:chgData name="Alina D" userId="24a60029abdc116d" providerId="LiveId" clId="{B2B885B0-7DDD-40D5-9AC7-E0D47B22B6DA}" dt="2018-06-03T10:27:33.610" v="7153" actId="478"/>
          <ac:spMkLst>
            <pc:docMk/>
            <pc:sldMk cId="3626715818" sldId="326"/>
            <ac:spMk id="4" creationId="{6A102209-8FDE-47B0-A2BE-3ED3A26B31FB}"/>
          </ac:spMkLst>
        </pc:spChg>
        <pc:spChg chg="del mod">
          <ac:chgData name="Alina D" userId="24a60029abdc116d" providerId="LiveId" clId="{B2B885B0-7DDD-40D5-9AC7-E0D47B22B6DA}" dt="2018-06-03T10:27:32.022" v="5775" actId="478"/>
          <ac:spMkLst>
            <pc:docMk/>
            <pc:sldMk cId="3626715818" sldId="326"/>
            <ac:spMk id="6" creationId="{37D5AEA5-93AC-44A3-ABB3-B338CC060BFA}"/>
          </ac:spMkLst>
        </pc:spChg>
        <pc:cxnChg chg="del">
          <ac:chgData name="Alina D" userId="24a60029abdc116d" providerId="LiveId" clId="{B2B885B0-7DDD-40D5-9AC7-E0D47B22B6DA}" dt="2018-06-03T10:27:33.611" v="7154" actId="478"/>
          <ac:cxnSpMkLst>
            <pc:docMk/>
            <pc:sldMk cId="3626715818" sldId="326"/>
            <ac:cxnSpMk id="5" creationId="{FA3D6B98-4DFC-4110-A125-21E2A4B26F50}"/>
          </ac:cxnSpMkLst>
        </pc:cxnChg>
        <pc:cxnChg chg="del">
          <ac:chgData name="Alina D" userId="24a60029abdc116d" providerId="LiveId" clId="{B2B885B0-7DDD-40D5-9AC7-E0D47B22B6DA}" dt="2018-06-03T10:27:32.024" v="5776" actId="478"/>
          <ac:cxnSpMkLst>
            <pc:docMk/>
            <pc:sldMk cId="3626715818" sldId="326"/>
            <ac:cxnSpMk id="7" creationId="{26E44EA0-10D5-4EB9-A7B4-64EADB447CE6}"/>
          </ac:cxnSpMkLst>
        </pc:cxnChg>
      </pc:sldChg>
      <pc:sldChg chg="delSp modSp del">
        <pc:chgData name="Alina D" userId="24a60029abdc116d" providerId="LiveId" clId="{B2B885B0-7DDD-40D5-9AC7-E0D47B22B6DA}" dt="2018-06-03T10:52:28.587" v="8261" actId="2696"/>
        <pc:sldMkLst>
          <pc:docMk/>
          <pc:sldMk cId="1194295692" sldId="327"/>
        </pc:sldMkLst>
        <pc:spChg chg="del">
          <ac:chgData name="Alina D" userId="24a60029abdc116d" providerId="LiveId" clId="{B2B885B0-7DDD-40D5-9AC7-E0D47B22B6DA}" dt="2018-06-03T10:52:28.584" v="8259" actId="478"/>
          <ac:spMkLst>
            <pc:docMk/>
            <pc:sldMk cId="1194295692" sldId="327"/>
            <ac:spMk id="4" creationId="{43F51F28-A0C0-43E3-9F9E-DFC2B7867D80}"/>
          </ac:spMkLst>
        </pc:spChg>
        <pc:spChg chg="del mod">
          <ac:chgData name="Alina D" userId="24a60029abdc116d" providerId="LiveId" clId="{B2B885B0-7DDD-40D5-9AC7-E0D47B22B6DA}" dt="2018-06-03T10:52:27.447" v="7283" actId="478"/>
          <ac:spMkLst>
            <pc:docMk/>
            <pc:sldMk cId="1194295692" sldId="327"/>
            <ac:spMk id="6" creationId="{C6534B86-AFEF-48FF-9231-79F434888DCD}"/>
          </ac:spMkLst>
        </pc:spChg>
        <pc:cxnChg chg="del">
          <ac:chgData name="Alina D" userId="24a60029abdc116d" providerId="LiveId" clId="{B2B885B0-7DDD-40D5-9AC7-E0D47B22B6DA}" dt="2018-06-03T10:52:28.584" v="8260" actId="478"/>
          <ac:cxnSpMkLst>
            <pc:docMk/>
            <pc:sldMk cId="1194295692" sldId="327"/>
            <ac:cxnSpMk id="5" creationId="{951174AD-66C0-4445-9AE4-3B94C2062090}"/>
          </ac:cxnSpMkLst>
        </pc:cxnChg>
        <pc:cxnChg chg="del">
          <ac:chgData name="Alina D" userId="24a60029abdc116d" providerId="LiveId" clId="{B2B885B0-7DDD-40D5-9AC7-E0D47B22B6DA}" dt="2018-06-03T10:52:27.449" v="7284" actId="478"/>
          <ac:cxnSpMkLst>
            <pc:docMk/>
            <pc:sldMk cId="1194295692" sldId="327"/>
            <ac:cxnSpMk id="7" creationId="{B6589820-F86F-4F6A-9116-8950713A4787}"/>
          </ac:cxnSpMkLst>
        </pc:cxnChg>
      </pc:sldChg>
      <pc:sldChg chg="delSp modSp del">
        <pc:chgData name="Alina D" userId="24a60029abdc116d" providerId="LiveId" clId="{B2B885B0-7DDD-40D5-9AC7-E0D47B22B6DA}" dt="2018-06-03T10:27:33.608" v="7152" actId="2696"/>
        <pc:sldMkLst>
          <pc:docMk/>
          <pc:sldMk cId="3750656026" sldId="327"/>
        </pc:sldMkLst>
        <pc:spChg chg="del">
          <ac:chgData name="Alina D" userId="24a60029abdc116d" providerId="LiveId" clId="{B2B885B0-7DDD-40D5-9AC7-E0D47B22B6DA}" dt="2018-06-03T10:27:33.595" v="7150" actId="478"/>
          <ac:spMkLst>
            <pc:docMk/>
            <pc:sldMk cId="3750656026" sldId="327"/>
            <ac:spMk id="4" creationId="{2968C198-CE0D-4444-BCFD-D25891D141D0}"/>
          </ac:spMkLst>
        </pc:spChg>
        <pc:spChg chg="del mod">
          <ac:chgData name="Alina D" userId="24a60029abdc116d" providerId="LiveId" clId="{B2B885B0-7DDD-40D5-9AC7-E0D47B22B6DA}" dt="2018-06-03T10:27:32.053" v="5805" actId="478"/>
          <ac:spMkLst>
            <pc:docMk/>
            <pc:sldMk cId="3750656026" sldId="327"/>
            <ac:spMk id="6" creationId="{E7B52D8B-D121-4024-8507-FCC003F9ED60}"/>
          </ac:spMkLst>
        </pc:spChg>
        <pc:cxnChg chg="del">
          <ac:chgData name="Alina D" userId="24a60029abdc116d" providerId="LiveId" clId="{B2B885B0-7DDD-40D5-9AC7-E0D47B22B6DA}" dt="2018-06-03T10:27:33.596" v="7151" actId="478"/>
          <ac:cxnSpMkLst>
            <pc:docMk/>
            <pc:sldMk cId="3750656026" sldId="327"/>
            <ac:cxnSpMk id="5" creationId="{7AF73C56-7C3F-4714-98ED-AE5DD4D5F993}"/>
          </ac:cxnSpMkLst>
        </pc:cxnChg>
        <pc:cxnChg chg="del">
          <ac:chgData name="Alina D" userId="24a60029abdc116d" providerId="LiveId" clId="{B2B885B0-7DDD-40D5-9AC7-E0D47B22B6DA}" dt="2018-06-03T10:27:32.056" v="5806" actId="478"/>
          <ac:cxnSpMkLst>
            <pc:docMk/>
            <pc:sldMk cId="3750656026" sldId="327"/>
            <ac:cxnSpMk id="7" creationId="{4C6E4B8A-7EBA-42A2-9E46-95CDDCE5ACEF}"/>
          </ac:cxnSpMkLst>
        </pc:cxnChg>
      </pc:sldChg>
      <pc:sldChg chg="addSp delSp modSp">
        <pc:chgData name="Alina D" userId="24a60029abdc116d" providerId="LiveId" clId="{B2B885B0-7DDD-40D5-9AC7-E0D47B22B6DA}" dt="2018-06-03T10:52:45.040" v="9224" actId="2696"/>
        <pc:sldMkLst>
          <pc:docMk/>
          <pc:sldMk cId="458617498" sldId="328"/>
        </pc:sldMkLst>
        <pc:spChg chg="del mod ord">
          <ac:chgData name="Alina D" userId="24a60029abdc116d" providerId="LiveId" clId="{B2B885B0-7DDD-40D5-9AC7-E0D47B22B6DA}" dt="2018-06-03T10:52:44.627" v="8766" actId="478"/>
          <ac:spMkLst>
            <pc:docMk/>
            <pc:sldMk cId="458617498" sldId="328"/>
            <ac:spMk id="2" creationId="{F733DE52-A6CD-49A4-9DB5-FEC15E6890DC}"/>
          </ac:spMkLst>
        </pc:spChg>
        <pc:spChg chg="del mod ord">
          <ac:chgData name="Alina D" userId="24a60029abdc116d" providerId="LiveId" clId="{B2B885B0-7DDD-40D5-9AC7-E0D47B22B6DA}" dt="2018-06-03T10:52:44.630" v="8767" actId="478"/>
          <ac:spMkLst>
            <pc:docMk/>
            <pc:sldMk cId="458617498" sldId="328"/>
            <ac:spMk id="4" creationId="{E6AB19A1-1F72-4451-A011-DD1478CDF19E}"/>
          </ac:spMkLst>
        </pc:spChg>
        <pc:spChg chg="del mod ord">
          <ac:chgData name="Alina D" userId="24a60029abdc116d" providerId="LiveId" clId="{B2B885B0-7DDD-40D5-9AC7-E0D47B22B6DA}" dt="2018-06-03T10:52:44.630" v="8768" actId="478"/>
          <ac:spMkLst>
            <pc:docMk/>
            <pc:sldMk cId="458617498" sldId="328"/>
            <ac:spMk id="5" creationId="{EDD4D049-2D83-4206-ACA8-1178AC2990FD}"/>
          </ac:spMkLst>
        </pc:spChg>
        <pc:spChg chg="del mod ord">
          <ac:chgData name="Alina D" userId="24a60029abdc116d" providerId="LiveId" clId="{B2B885B0-7DDD-40D5-9AC7-E0D47B22B6DA}" dt="2018-06-03T10:52:44.630" v="8769" actId="478"/>
          <ac:spMkLst>
            <pc:docMk/>
            <pc:sldMk cId="458617498" sldId="328"/>
            <ac:spMk id="6" creationId="{08A656EF-161B-4E8C-B75C-E59D9B041C8E}"/>
          </ac:spMkLst>
        </pc:spChg>
        <pc:spChg chg="del mod ord">
          <ac:chgData name="Alina D" userId="24a60029abdc116d" providerId="LiveId" clId="{B2B885B0-7DDD-40D5-9AC7-E0D47B22B6DA}" dt="2018-06-03T10:52:44.631" v="8770" actId="478"/>
          <ac:spMkLst>
            <pc:docMk/>
            <pc:sldMk cId="458617498" sldId="328"/>
            <ac:spMk id="7" creationId="{14A093F9-38A5-4604-B6F3-044B4C22F3AD}"/>
          </ac:spMkLst>
        </pc:spChg>
        <pc:spChg chg="del mod ord">
          <ac:chgData name="Alina D" userId="24a60029abdc116d" providerId="LiveId" clId="{B2B885B0-7DDD-40D5-9AC7-E0D47B22B6DA}" dt="2018-06-03T10:52:44.631" v="8771" actId="478"/>
          <ac:spMkLst>
            <pc:docMk/>
            <pc:sldMk cId="458617498" sldId="328"/>
            <ac:spMk id="8" creationId="{EEA64E8E-6C6E-4EDC-9011-90B2CFE3748B}"/>
          </ac:spMkLst>
        </pc:spChg>
        <pc:spChg chg="del mod ord">
          <ac:chgData name="Alina D" userId="24a60029abdc116d" providerId="LiveId" clId="{B2B885B0-7DDD-40D5-9AC7-E0D47B22B6DA}" dt="2018-06-03T10:52:44.632" v="8772" actId="478"/>
          <ac:spMkLst>
            <pc:docMk/>
            <pc:sldMk cId="458617498" sldId="328"/>
            <ac:spMk id="9" creationId="{743F3446-F8CC-4DD6-85EE-4CBC97FBEA3E}"/>
          </ac:spMkLst>
        </pc:spChg>
        <pc:spChg chg="del mod ord">
          <ac:chgData name="Alina D" userId="24a60029abdc116d" providerId="LiveId" clId="{B2B885B0-7DDD-40D5-9AC7-E0D47B22B6DA}" dt="2018-06-03T10:52:44.633" v="8775" actId="478"/>
          <ac:spMkLst>
            <pc:docMk/>
            <pc:sldMk cId="458617498" sldId="328"/>
            <ac:spMk id="12" creationId="{AFA8EFDF-0FDA-4FB7-A0BD-9C2F82C952ED}"/>
          </ac:spMkLst>
        </pc:spChg>
        <pc:spChg chg="del mod ord">
          <ac:chgData name="Alina D" userId="24a60029abdc116d" providerId="LiveId" clId="{B2B885B0-7DDD-40D5-9AC7-E0D47B22B6DA}" dt="2018-06-03T10:52:44.633" v="8776" actId="478"/>
          <ac:spMkLst>
            <pc:docMk/>
            <pc:sldMk cId="458617498" sldId="328"/>
            <ac:spMk id="13" creationId="{184F4B28-09D0-452E-BE53-2C5D11D72AF4}"/>
          </ac:spMkLst>
        </pc:spChg>
        <pc:spChg chg="add mod ord">
          <ac:chgData name="Alina D" userId="24a60029abdc116d" providerId="LiveId" clId="{B2B885B0-7DDD-40D5-9AC7-E0D47B22B6DA}" dt="2018-06-03T10:52:45.035" v="9214" actId="2696"/>
          <ac:spMkLst>
            <pc:docMk/>
            <pc:sldMk cId="458617498" sldId="328"/>
            <ac:spMk id="15" creationId="{E9BCDE1B-4929-4D99-A3CB-A0AB6DF94BC1}"/>
          </ac:spMkLst>
        </pc:spChg>
        <pc:spChg chg="mod ord">
          <ac:chgData name="Alina D" userId="24a60029abdc116d" providerId="LiveId" clId="{B2B885B0-7DDD-40D5-9AC7-E0D47B22B6DA}" dt="2018-06-03T10:52:45.037" v="9215" actId="2696"/>
          <ac:spMkLst>
            <pc:docMk/>
            <pc:sldMk cId="458617498" sldId="328"/>
            <ac:spMk id="16" creationId="{7B09A221-F599-48EF-8CBD-39E075D37102}"/>
          </ac:spMkLst>
        </pc:spChg>
        <pc:spChg chg="mod ord">
          <ac:chgData name="Alina D" userId="24a60029abdc116d" providerId="LiveId" clId="{B2B885B0-7DDD-40D5-9AC7-E0D47B22B6DA}" dt="2018-06-03T10:52:45.037" v="9216" actId="2696"/>
          <ac:spMkLst>
            <pc:docMk/>
            <pc:sldMk cId="458617498" sldId="328"/>
            <ac:spMk id="17" creationId="{332830DC-C2D9-4728-ABE5-EE8AAE5E7098}"/>
          </ac:spMkLst>
        </pc:spChg>
        <pc:spChg chg="mod ord">
          <ac:chgData name="Alina D" userId="24a60029abdc116d" providerId="LiveId" clId="{B2B885B0-7DDD-40D5-9AC7-E0D47B22B6DA}" dt="2018-06-03T10:52:45.037" v="9217" actId="2696"/>
          <ac:spMkLst>
            <pc:docMk/>
            <pc:sldMk cId="458617498" sldId="328"/>
            <ac:spMk id="18" creationId="{530D4F81-338C-4BCD-BF42-7677E56BD28D}"/>
          </ac:spMkLst>
        </pc:spChg>
        <pc:spChg chg="mod ord">
          <ac:chgData name="Alina D" userId="24a60029abdc116d" providerId="LiveId" clId="{B2B885B0-7DDD-40D5-9AC7-E0D47B22B6DA}" dt="2018-06-03T10:52:45.038" v="9218" actId="2696"/>
          <ac:spMkLst>
            <pc:docMk/>
            <pc:sldMk cId="458617498" sldId="328"/>
            <ac:spMk id="19" creationId="{0699C439-271C-40E1-B2AD-B64A9DE37AEB}"/>
          </ac:spMkLst>
        </pc:spChg>
        <pc:spChg chg="mod ord">
          <ac:chgData name="Alina D" userId="24a60029abdc116d" providerId="LiveId" clId="{B2B885B0-7DDD-40D5-9AC7-E0D47B22B6DA}" dt="2018-06-03T10:52:45.038" v="9219" actId="2696"/>
          <ac:spMkLst>
            <pc:docMk/>
            <pc:sldMk cId="458617498" sldId="328"/>
            <ac:spMk id="20" creationId="{4BC6DD83-2ACA-4A2B-9C1D-DA00676D048F}"/>
          </ac:spMkLst>
        </pc:spChg>
        <pc:spChg chg="mod ord">
          <ac:chgData name="Alina D" userId="24a60029abdc116d" providerId="LiveId" clId="{B2B885B0-7DDD-40D5-9AC7-E0D47B22B6DA}" dt="2018-06-03T10:52:45.038" v="9220" actId="2696"/>
          <ac:spMkLst>
            <pc:docMk/>
            <pc:sldMk cId="458617498" sldId="328"/>
            <ac:spMk id="21" creationId="{D14A6D98-7724-4C29-B82E-11E3FC88C09D}"/>
          </ac:spMkLst>
        </pc:spChg>
        <pc:spChg chg="mod ord">
          <ac:chgData name="Alina D" userId="24a60029abdc116d" providerId="LiveId" clId="{B2B885B0-7DDD-40D5-9AC7-E0D47B22B6DA}" dt="2018-06-03T10:52:45.039" v="9223" actId="2696"/>
          <ac:spMkLst>
            <pc:docMk/>
            <pc:sldMk cId="458617498" sldId="328"/>
            <ac:spMk id="24" creationId="{24233F71-56D4-4710-9F4B-8C6CF8E072F2}"/>
          </ac:spMkLst>
        </pc:spChg>
        <pc:spChg chg="mod ord">
          <ac:chgData name="Alina D" userId="24a60029abdc116d" providerId="LiveId" clId="{B2B885B0-7DDD-40D5-9AC7-E0D47B22B6DA}" dt="2018-06-03T10:52:45.040" v="9224" actId="2696"/>
          <ac:spMkLst>
            <pc:docMk/>
            <pc:sldMk cId="458617498" sldId="328"/>
            <ac:spMk id="25" creationId="{C67F463B-ED38-4131-8727-3345FD857D34}"/>
          </ac:spMkLst>
        </pc:spChg>
        <pc:cxnChg chg="del mod ord">
          <ac:chgData name="Alina D" userId="24a60029abdc116d" providerId="LiveId" clId="{B2B885B0-7DDD-40D5-9AC7-E0D47B22B6DA}" dt="2018-06-03T10:52:44.632" v="8773" actId="478"/>
          <ac:cxnSpMkLst>
            <pc:docMk/>
            <pc:sldMk cId="458617498" sldId="328"/>
            <ac:cxnSpMk id="10" creationId="{3E418092-D060-43F1-9521-5C946458CC97}"/>
          </ac:cxnSpMkLst>
        </pc:cxnChg>
        <pc:cxnChg chg="del mod ord">
          <ac:chgData name="Alina D" userId="24a60029abdc116d" providerId="LiveId" clId="{B2B885B0-7DDD-40D5-9AC7-E0D47B22B6DA}" dt="2018-06-03T10:52:44.633" v="8774" actId="478"/>
          <ac:cxnSpMkLst>
            <pc:docMk/>
            <pc:sldMk cId="458617498" sldId="328"/>
            <ac:cxnSpMk id="11" creationId="{6230474D-6C27-434B-B70F-5EBE7A562011}"/>
          </ac:cxnSpMkLst>
        </pc:cxnChg>
        <pc:cxnChg chg="mod ord">
          <ac:chgData name="Alina D" userId="24a60029abdc116d" providerId="LiveId" clId="{B2B885B0-7DDD-40D5-9AC7-E0D47B22B6DA}" dt="2018-06-03T10:52:45.039" v="9221" actId="2696"/>
          <ac:cxnSpMkLst>
            <pc:docMk/>
            <pc:sldMk cId="458617498" sldId="328"/>
            <ac:cxnSpMk id="22" creationId="{7697792E-AB98-40A4-AF0C-97D8E9A5A416}"/>
          </ac:cxnSpMkLst>
        </pc:cxnChg>
        <pc:cxnChg chg="mod ord">
          <ac:chgData name="Alina D" userId="24a60029abdc116d" providerId="LiveId" clId="{B2B885B0-7DDD-40D5-9AC7-E0D47B22B6DA}" dt="2018-06-03T10:52:45.039" v="9222" actId="2696"/>
          <ac:cxnSpMkLst>
            <pc:docMk/>
            <pc:sldMk cId="458617498" sldId="328"/>
            <ac:cxnSpMk id="23" creationId="{62827577-E577-43AD-9C59-2D04D4A78E0F}"/>
          </ac:cxnSpMkLst>
        </pc:cxnChg>
      </pc:sldChg>
      <pc:sldChg chg="delSp modSp del">
        <pc:chgData name="Alina D" userId="24a60029abdc116d" providerId="LiveId" clId="{B2B885B0-7DDD-40D5-9AC7-E0D47B22B6DA}" dt="2018-06-03T10:52:45.186" v="9346" actId="2696"/>
        <pc:sldMkLst>
          <pc:docMk/>
          <pc:sldMk cId="2802620180" sldId="329"/>
        </pc:sldMkLst>
        <pc:spChg chg="del">
          <ac:chgData name="Alina D" userId="24a60029abdc116d" providerId="LiveId" clId="{B2B885B0-7DDD-40D5-9AC7-E0D47B22B6DA}" dt="2018-06-03T10:52:45.183" v="9344" actId="478"/>
          <ac:spMkLst>
            <pc:docMk/>
            <pc:sldMk cId="2802620180" sldId="329"/>
            <ac:spMk id="4" creationId="{A9BC19A7-B371-4D46-A1FD-848BB58A7A9E}"/>
          </ac:spMkLst>
        </pc:spChg>
        <pc:spChg chg="del mod">
          <ac:chgData name="Alina D" userId="24a60029abdc116d" providerId="LiveId" clId="{B2B885B0-7DDD-40D5-9AC7-E0D47B22B6DA}" dt="2018-06-03T10:52:44.131" v="8298" actId="478"/>
          <ac:spMkLst>
            <pc:docMk/>
            <pc:sldMk cId="2802620180" sldId="329"/>
            <ac:spMk id="6" creationId="{FC4ED95D-8E8E-4846-A256-97D25A801ACB}"/>
          </ac:spMkLst>
        </pc:spChg>
        <pc:spChg chg="del mod">
          <ac:chgData name="Alina D" userId="24a60029abdc116d" providerId="LiveId" clId="{B2B885B0-7DDD-40D5-9AC7-E0D47B22B6DA}" dt="2018-06-03T10:52:44.203" v="8374" actId="478"/>
          <ac:spMkLst>
            <pc:docMk/>
            <pc:sldMk cId="2802620180" sldId="329"/>
            <ac:spMk id="8" creationId="{2FDE48B1-E7F1-494C-9EFB-81AF2B8123BC}"/>
          </ac:spMkLst>
        </pc:spChg>
        <pc:spChg chg="del mod">
          <ac:chgData name="Alina D" userId="24a60029abdc116d" providerId="LiveId" clId="{B2B885B0-7DDD-40D5-9AC7-E0D47B22B6DA}" dt="2018-06-03T10:52:44.216" v="8388" actId="478"/>
          <ac:spMkLst>
            <pc:docMk/>
            <pc:sldMk cId="2802620180" sldId="329"/>
            <ac:spMk id="9" creationId="{D248E4ED-F214-4C35-90AE-8112456904F7}"/>
          </ac:spMkLst>
        </pc:spChg>
        <pc:spChg chg="del mod">
          <ac:chgData name="Alina D" userId="24a60029abdc116d" providerId="LiveId" clId="{B2B885B0-7DDD-40D5-9AC7-E0D47B22B6DA}" dt="2018-06-03T10:52:44.229" v="8402" actId="478"/>
          <ac:spMkLst>
            <pc:docMk/>
            <pc:sldMk cId="2802620180" sldId="329"/>
            <ac:spMk id="10" creationId="{6B20D277-AD9D-4297-A913-B29164BEEF41}"/>
          </ac:spMkLst>
        </pc:spChg>
        <pc:spChg chg="del mod">
          <ac:chgData name="Alina D" userId="24a60029abdc116d" providerId="LiveId" clId="{B2B885B0-7DDD-40D5-9AC7-E0D47B22B6DA}" dt="2018-06-03T10:52:44.243" v="8416" actId="478"/>
          <ac:spMkLst>
            <pc:docMk/>
            <pc:sldMk cId="2802620180" sldId="329"/>
            <ac:spMk id="11" creationId="{0360C536-9291-488F-960B-D3622082F54D}"/>
          </ac:spMkLst>
        </pc:spChg>
        <pc:spChg chg="del mod">
          <ac:chgData name="Alina D" userId="24a60029abdc116d" providerId="LiveId" clId="{B2B885B0-7DDD-40D5-9AC7-E0D47B22B6DA}" dt="2018-06-03T10:52:44.251" v="8424" actId="478"/>
          <ac:spMkLst>
            <pc:docMk/>
            <pc:sldMk cId="2802620180" sldId="329"/>
            <ac:spMk id="12" creationId="{A48ECBFD-37BE-4018-B4AB-DD4076A929FC}"/>
          </ac:spMkLst>
        </pc:spChg>
        <pc:spChg chg="del mod">
          <ac:chgData name="Alina D" userId="24a60029abdc116d" providerId="LiveId" clId="{B2B885B0-7DDD-40D5-9AC7-E0D47B22B6DA}" dt="2018-06-03T10:52:44.259" v="8432" actId="478"/>
          <ac:spMkLst>
            <pc:docMk/>
            <pc:sldMk cId="2802620180" sldId="329"/>
            <ac:spMk id="13" creationId="{02A05E81-1094-4849-9BB8-B5945D3FA223}"/>
          </ac:spMkLst>
        </pc:spChg>
        <pc:spChg chg="del mod">
          <ac:chgData name="Alina D" userId="24a60029abdc116d" providerId="LiveId" clId="{B2B885B0-7DDD-40D5-9AC7-E0D47B22B6DA}" dt="2018-06-03T10:52:44.266" v="8439" actId="478"/>
          <ac:spMkLst>
            <pc:docMk/>
            <pc:sldMk cId="2802620180" sldId="329"/>
            <ac:spMk id="14" creationId="{7D39B0DF-5F4A-4EF5-8E92-2FDE60593698}"/>
          </ac:spMkLst>
        </pc:spChg>
        <pc:spChg chg="del mod">
          <ac:chgData name="Alina D" userId="24a60029abdc116d" providerId="LiveId" clId="{B2B885B0-7DDD-40D5-9AC7-E0D47B22B6DA}" dt="2018-06-03T10:52:44.272" v="8446" actId="478"/>
          <ac:spMkLst>
            <pc:docMk/>
            <pc:sldMk cId="2802620180" sldId="329"/>
            <ac:spMk id="15" creationId="{F7628EF6-BFAC-4EEC-920B-6CA546C694E9}"/>
          </ac:spMkLst>
        </pc:spChg>
        <pc:spChg chg="del mod">
          <ac:chgData name="Alina D" userId="24a60029abdc116d" providerId="LiveId" clId="{B2B885B0-7DDD-40D5-9AC7-E0D47B22B6DA}" dt="2018-06-03T10:52:44.287" v="8460" actId="478"/>
          <ac:spMkLst>
            <pc:docMk/>
            <pc:sldMk cId="2802620180" sldId="329"/>
            <ac:spMk id="16" creationId="{20171C63-2DD8-4AEE-8819-103693D7176F}"/>
          </ac:spMkLst>
        </pc:spChg>
        <pc:spChg chg="del mod">
          <ac:chgData name="Alina D" userId="24a60029abdc116d" providerId="LiveId" clId="{B2B885B0-7DDD-40D5-9AC7-E0D47B22B6DA}" dt="2018-06-03T10:52:44.303" v="8474" actId="478"/>
          <ac:spMkLst>
            <pc:docMk/>
            <pc:sldMk cId="2802620180" sldId="329"/>
            <ac:spMk id="17" creationId="{1EE38B54-5432-4B70-B50E-AA061D860DDB}"/>
          </ac:spMkLst>
        </pc:spChg>
        <pc:spChg chg="del mod">
          <ac:chgData name="Alina D" userId="24a60029abdc116d" providerId="LiveId" clId="{B2B885B0-7DDD-40D5-9AC7-E0D47B22B6DA}" dt="2018-06-03T10:52:44.317" v="8488" actId="478"/>
          <ac:spMkLst>
            <pc:docMk/>
            <pc:sldMk cId="2802620180" sldId="329"/>
            <ac:spMk id="18" creationId="{0615E450-016A-463A-8D53-2A4C2920DF62}"/>
          </ac:spMkLst>
        </pc:spChg>
        <pc:spChg chg="del mod">
          <ac:chgData name="Alina D" userId="24a60029abdc116d" providerId="LiveId" clId="{B2B885B0-7DDD-40D5-9AC7-E0D47B22B6DA}" dt="2018-06-03T10:52:44.331" v="8502" actId="478"/>
          <ac:spMkLst>
            <pc:docMk/>
            <pc:sldMk cId="2802620180" sldId="329"/>
            <ac:spMk id="19" creationId="{BAFB86BD-F016-483C-996F-8C8544D116C1}"/>
          </ac:spMkLst>
        </pc:spChg>
        <pc:spChg chg="del mod">
          <ac:chgData name="Alina D" userId="24a60029abdc116d" providerId="LiveId" clId="{B2B885B0-7DDD-40D5-9AC7-E0D47B22B6DA}" dt="2018-06-03T10:52:44.340" v="8510" actId="478"/>
          <ac:spMkLst>
            <pc:docMk/>
            <pc:sldMk cId="2802620180" sldId="329"/>
            <ac:spMk id="20" creationId="{ECC653BA-9470-4EA7-B5F7-7E6D4369A6A0}"/>
          </ac:spMkLst>
        </pc:spChg>
        <pc:spChg chg="del mod">
          <ac:chgData name="Alina D" userId="24a60029abdc116d" providerId="LiveId" clId="{B2B885B0-7DDD-40D5-9AC7-E0D47B22B6DA}" dt="2018-06-03T10:52:44.347" v="8518" actId="478"/>
          <ac:spMkLst>
            <pc:docMk/>
            <pc:sldMk cId="2802620180" sldId="329"/>
            <ac:spMk id="21" creationId="{B9EBFBA5-6699-4B98-99C7-8889E4280D35}"/>
          </ac:spMkLst>
        </pc:spChg>
        <pc:spChg chg="del mod">
          <ac:chgData name="Alina D" userId="24a60029abdc116d" providerId="LiveId" clId="{B2B885B0-7DDD-40D5-9AC7-E0D47B22B6DA}" dt="2018-06-03T10:52:44.355" v="8525" actId="478"/>
          <ac:spMkLst>
            <pc:docMk/>
            <pc:sldMk cId="2802620180" sldId="329"/>
            <ac:spMk id="22" creationId="{1F71965D-C8C7-4ABE-BEAF-5B6B5B6E2947}"/>
          </ac:spMkLst>
        </pc:spChg>
        <pc:spChg chg="del mod">
          <ac:chgData name="Alina D" userId="24a60029abdc116d" providerId="LiveId" clId="{B2B885B0-7DDD-40D5-9AC7-E0D47B22B6DA}" dt="2018-06-03T10:52:44.361" v="8532" actId="478"/>
          <ac:spMkLst>
            <pc:docMk/>
            <pc:sldMk cId="2802620180" sldId="329"/>
            <ac:spMk id="23" creationId="{741A1F8F-0E0D-418D-AC3F-ED5DF0E04ECF}"/>
          </ac:spMkLst>
        </pc:spChg>
        <pc:spChg chg="del mod">
          <ac:chgData name="Alina D" userId="24a60029abdc116d" providerId="LiveId" clId="{B2B885B0-7DDD-40D5-9AC7-E0D47B22B6DA}" dt="2018-06-03T10:52:44.400" v="8546" actId="478"/>
          <ac:spMkLst>
            <pc:docMk/>
            <pc:sldMk cId="2802620180" sldId="329"/>
            <ac:spMk id="24" creationId="{705EEE1F-9CCD-45AB-8032-922B45FD1A3C}"/>
          </ac:spMkLst>
        </pc:spChg>
        <pc:spChg chg="del mod">
          <ac:chgData name="Alina D" userId="24a60029abdc116d" providerId="LiveId" clId="{B2B885B0-7DDD-40D5-9AC7-E0D47B22B6DA}" dt="2018-06-03T10:52:44.414" v="8560" actId="478"/>
          <ac:spMkLst>
            <pc:docMk/>
            <pc:sldMk cId="2802620180" sldId="329"/>
            <ac:spMk id="25" creationId="{234AB70C-449A-4231-99AA-FB0F90B9D349}"/>
          </ac:spMkLst>
        </pc:spChg>
        <pc:spChg chg="del mod">
          <ac:chgData name="Alina D" userId="24a60029abdc116d" providerId="LiveId" clId="{B2B885B0-7DDD-40D5-9AC7-E0D47B22B6DA}" dt="2018-06-03T10:52:44.427" v="8574" actId="478"/>
          <ac:spMkLst>
            <pc:docMk/>
            <pc:sldMk cId="2802620180" sldId="329"/>
            <ac:spMk id="26" creationId="{2D1561CB-BD9D-4BBF-BF46-B4E6BEB0C545}"/>
          </ac:spMkLst>
        </pc:spChg>
        <pc:spChg chg="del mod">
          <ac:chgData name="Alina D" userId="24a60029abdc116d" providerId="LiveId" clId="{B2B885B0-7DDD-40D5-9AC7-E0D47B22B6DA}" dt="2018-06-03T10:52:44.440" v="8588" actId="478"/>
          <ac:spMkLst>
            <pc:docMk/>
            <pc:sldMk cId="2802620180" sldId="329"/>
            <ac:spMk id="27" creationId="{EF0D48B4-165F-40F6-8389-155EA96C2718}"/>
          </ac:spMkLst>
        </pc:spChg>
        <pc:spChg chg="del mod">
          <ac:chgData name="Alina D" userId="24a60029abdc116d" providerId="LiveId" clId="{B2B885B0-7DDD-40D5-9AC7-E0D47B22B6DA}" dt="2018-06-03T10:52:44.448" v="8596" actId="478"/>
          <ac:spMkLst>
            <pc:docMk/>
            <pc:sldMk cId="2802620180" sldId="329"/>
            <ac:spMk id="28" creationId="{AC10C668-E7CF-4F37-8DED-E83456B2B2A3}"/>
          </ac:spMkLst>
        </pc:spChg>
        <pc:spChg chg="del mod">
          <ac:chgData name="Alina D" userId="24a60029abdc116d" providerId="LiveId" clId="{B2B885B0-7DDD-40D5-9AC7-E0D47B22B6DA}" dt="2018-06-03T10:52:44.454" v="8604" actId="478"/>
          <ac:spMkLst>
            <pc:docMk/>
            <pc:sldMk cId="2802620180" sldId="329"/>
            <ac:spMk id="29" creationId="{5C1A64CF-F064-4310-8A10-4556EF5C6672}"/>
          </ac:spMkLst>
        </pc:spChg>
        <pc:spChg chg="del mod">
          <ac:chgData name="Alina D" userId="24a60029abdc116d" providerId="LiveId" clId="{B2B885B0-7DDD-40D5-9AC7-E0D47B22B6DA}" dt="2018-06-03T10:52:44.461" v="8611" actId="478"/>
          <ac:spMkLst>
            <pc:docMk/>
            <pc:sldMk cId="2802620180" sldId="329"/>
            <ac:spMk id="30" creationId="{D5BAD440-82A8-4632-8918-3F786148F2F7}"/>
          </ac:spMkLst>
        </pc:spChg>
        <pc:spChg chg="del mod">
          <ac:chgData name="Alina D" userId="24a60029abdc116d" providerId="LiveId" clId="{B2B885B0-7DDD-40D5-9AC7-E0D47B22B6DA}" dt="2018-06-03T10:52:44.468" v="8618" actId="478"/>
          <ac:spMkLst>
            <pc:docMk/>
            <pc:sldMk cId="2802620180" sldId="329"/>
            <ac:spMk id="31" creationId="{28631EC3-2E20-4BC1-8962-E2AB266FE918}"/>
          </ac:spMkLst>
        </pc:spChg>
        <pc:spChg chg="del mod">
          <ac:chgData name="Alina D" userId="24a60029abdc116d" providerId="LiveId" clId="{B2B885B0-7DDD-40D5-9AC7-E0D47B22B6DA}" dt="2018-06-03T10:52:44.480" v="8632" actId="478"/>
          <ac:spMkLst>
            <pc:docMk/>
            <pc:sldMk cId="2802620180" sldId="329"/>
            <ac:spMk id="32" creationId="{011AEF03-A4A5-425D-B3A5-DE54D88AACCB}"/>
          </ac:spMkLst>
        </pc:spChg>
        <pc:spChg chg="del mod">
          <ac:chgData name="Alina D" userId="24a60029abdc116d" providerId="LiveId" clId="{B2B885B0-7DDD-40D5-9AC7-E0D47B22B6DA}" dt="2018-06-03T10:52:44.493" v="8646" actId="478"/>
          <ac:spMkLst>
            <pc:docMk/>
            <pc:sldMk cId="2802620180" sldId="329"/>
            <ac:spMk id="33" creationId="{46711473-EC61-46EF-A60E-A75C3DAED5FF}"/>
          </ac:spMkLst>
        </pc:spChg>
        <pc:spChg chg="del mod">
          <ac:chgData name="Alina D" userId="24a60029abdc116d" providerId="LiveId" clId="{B2B885B0-7DDD-40D5-9AC7-E0D47B22B6DA}" dt="2018-06-03T10:52:44.506" v="8660" actId="478"/>
          <ac:spMkLst>
            <pc:docMk/>
            <pc:sldMk cId="2802620180" sldId="329"/>
            <ac:spMk id="34" creationId="{834C4765-1F86-4C5B-95F5-4BF5EF9D5200}"/>
          </ac:spMkLst>
        </pc:spChg>
        <pc:spChg chg="del mod">
          <ac:chgData name="Alina D" userId="24a60029abdc116d" providerId="LiveId" clId="{B2B885B0-7DDD-40D5-9AC7-E0D47B22B6DA}" dt="2018-06-03T10:52:44.519" v="8674" actId="478"/>
          <ac:spMkLst>
            <pc:docMk/>
            <pc:sldMk cId="2802620180" sldId="329"/>
            <ac:spMk id="35" creationId="{DC1D088B-47A1-426F-A75E-74780EA31643}"/>
          </ac:spMkLst>
        </pc:spChg>
        <pc:spChg chg="del mod">
          <ac:chgData name="Alina D" userId="24a60029abdc116d" providerId="LiveId" clId="{B2B885B0-7DDD-40D5-9AC7-E0D47B22B6DA}" dt="2018-06-03T10:52:44.527" v="8682" actId="478"/>
          <ac:spMkLst>
            <pc:docMk/>
            <pc:sldMk cId="2802620180" sldId="329"/>
            <ac:spMk id="36" creationId="{C2AFF71F-62B6-42A9-8EFC-C1D290609B79}"/>
          </ac:spMkLst>
        </pc:spChg>
        <pc:spChg chg="del mod">
          <ac:chgData name="Alina D" userId="24a60029abdc116d" providerId="LiveId" clId="{B2B885B0-7DDD-40D5-9AC7-E0D47B22B6DA}" dt="2018-06-03T10:52:44.535" v="8690" actId="478"/>
          <ac:spMkLst>
            <pc:docMk/>
            <pc:sldMk cId="2802620180" sldId="329"/>
            <ac:spMk id="37" creationId="{B4DF1790-55E7-43A9-9737-E4EBB8A0414D}"/>
          </ac:spMkLst>
        </pc:spChg>
        <pc:spChg chg="del mod">
          <ac:chgData name="Alina D" userId="24a60029abdc116d" providerId="LiveId" clId="{B2B885B0-7DDD-40D5-9AC7-E0D47B22B6DA}" dt="2018-06-03T10:52:44.541" v="8697" actId="478"/>
          <ac:spMkLst>
            <pc:docMk/>
            <pc:sldMk cId="2802620180" sldId="329"/>
            <ac:spMk id="38" creationId="{0A6A236F-31D9-40C9-87CD-8F8251F5D9F9}"/>
          </ac:spMkLst>
        </pc:spChg>
        <pc:spChg chg="del mod">
          <ac:chgData name="Alina D" userId="24a60029abdc116d" providerId="LiveId" clId="{B2B885B0-7DDD-40D5-9AC7-E0D47B22B6DA}" dt="2018-06-03T10:52:44.547" v="8704" actId="478"/>
          <ac:spMkLst>
            <pc:docMk/>
            <pc:sldMk cId="2802620180" sldId="329"/>
            <ac:spMk id="39" creationId="{3B9A9C56-2736-4356-8B01-7BEE73B71033}"/>
          </ac:spMkLst>
        </pc:spChg>
        <pc:spChg chg="del mod">
          <ac:chgData name="Alina D" userId="24a60029abdc116d" providerId="LiveId" clId="{B2B885B0-7DDD-40D5-9AC7-E0D47B22B6DA}" dt="2018-06-03T10:52:44.567" v="8733" actId="478"/>
          <ac:spMkLst>
            <pc:docMk/>
            <pc:sldMk cId="2802620180" sldId="329"/>
            <ac:spMk id="40" creationId="{32BB6041-E89F-479D-B518-51DB92F89596}"/>
          </ac:spMkLst>
        </pc:spChg>
        <pc:cxnChg chg="del">
          <ac:chgData name="Alina D" userId="24a60029abdc116d" providerId="LiveId" clId="{B2B885B0-7DDD-40D5-9AC7-E0D47B22B6DA}" dt="2018-06-03T10:52:45.185" v="9345" actId="478"/>
          <ac:cxnSpMkLst>
            <pc:docMk/>
            <pc:sldMk cId="2802620180" sldId="329"/>
            <ac:cxnSpMk id="5" creationId="{E4173401-5BA3-45DB-A37B-53666AC837E0}"/>
          </ac:cxnSpMkLst>
        </pc:cxnChg>
        <pc:cxnChg chg="del mod">
          <ac:chgData name="Alina D" userId="24a60029abdc116d" providerId="LiveId" clId="{B2B885B0-7DDD-40D5-9AC7-E0D47B22B6DA}" dt="2018-06-03T10:52:44.133" v="8300" actId="478"/>
          <ac:cxnSpMkLst>
            <pc:docMk/>
            <pc:sldMk cId="2802620180" sldId="329"/>
            <ac:cxnSpMk id="7" creationId="{9A648086-26FB-43F7-BF0D-85D69A1E444F}"/>
          </ac:cxnSpMkLst>
        </pc:cxnChg>
        <pc:cxnChg chg="del">
          <ac:chgData name="Alina D" userId="24a60029abdc116d" providerId="LiveId" clId="{B2B885B0-7DDD-40D5-9AC7-E0D47B22B6DA}" dt="2018-06-03T10:52:44.569" v="8734" actId="478"/>
          <ac:cxnSpMkLst>
            <pc:docMk/>
            <pc:sldMk cId="2802620180" sldId="329"/>
            <ac:cxnSpMk id="41" creationId="{1145F81C-CB63-4787-922B-72A5F45CDBBD}"/>
          </ac:cxnSpMkLst>
        </pc:cxnChg>
      </pc:sldChg>
      <pc:sldChg chg="delSp modSp del">
        <pc:chgData name="Alina D" userId="24a60029abdc116d" providerId="LiveId" clId="{B2B885B0-7DDD-40D5-9AC7-E0D47B22B6DA}" dt="2018-06-03T10:52:45.182" v="9343" actId="2696"/>
        <pc:sldMkLst>
          <pc:docMk/>
          <pc:sldMk cId="856795915" sldId="330"/>
        </pc:sldMkLst>
        <pc:spChg chg="del">
          <ac:chgData name="Alina D" userId="24a60029abdc116d" providerId="LiveId" clId="{B2B885B0-7DDD-40D5-9AC7-E0D47B22B6DA}" dt="2018-06-03T10:52:45.179" v="9341" actId="478"/>
          <ac:spMkLst>
            <pc:docMk/>
            <pc:sldMk cId="856795915" sldId="330"/>
            <ac:spMk id="4" creationId="{D72DE4C8-700A-45B2-909B-AEAF4C530BC1}"/>
          </ac:spMkLst>
        </pc:spChg>
        <pc:spChg chg="del mod">
          <ac:chgData name="Alina D" userId="24a60029abdc116d" providerId="LiveId" clId="{B2B885B0-7DDD-40D5-9AC7-E0D47B22B6DA}" dt="2018-06-03T10:52:44.159" v="8329" actId="478"/>
          <ac:spMkLst>
            <pc:docMk/>
            <pc:sldMk cId="856795915" sldId="330"/>
            <ac:spMk id="6" creationId="{48ABA039-2558-4293-AAD7-C72DA6C018BD}"/>
          </ac:spMkLst>
        </pc:spChg>
        <pc:cxnChg chg="del">
          <ac:chgData name="Alina D" userId="24a60029abdc116d" providerId="LiveId" clId="{B2B885B0-7DDD-40D5-9AC7-E0D47B22B6DA}" dt="2018-06-03T10:52:45.180" v="9342" actId="478"/>
          <ac:cxnSpMkLst>
            <pc:docMk/>
            <pc:sldMk cId="856795915" sldId="330"/>
            <ac:cxnSpMk id="5" creationId="{2173D18D-7AEA-45DB-AFA3-670A95F1F031}"/>
          </ac:cxnSpMkLst>
        </pc:cxnChg>
        <pc:cxnChg chg="del">
          <ac:chgData name="Alina D" userId="24a60029abdc116d" providerId="LiveId" clId="{B2B885B0-7DDD-40D5-9AC7-E0D47B22B6DA}" dt="2018-06-03T10:52:44.161" v="8330" actId="478"/>
          <ac:cxnSpMkLst>
            <pc:docMk/>
            <pc:sldMk cId="856795915" sldId="330"/>
            <ac:cxnSpMk id="7" creationId="{0AA362A0-3250-4A83-8B87-44E6C0156033}"/>
          </ac:cxnSpMkLst>
        </pc:cxnChg>
      </pc:sldChg>
      <pc:sldChg chg="delSp modSp del">
        <pc:chgData name="Alina D" userId="24a60029abdc116d" providerId="LiveId" clId="{B2B885B0-7DDD-40D5-9AC7-E0D47B22B6DA}" dt="2018-06-03T10:52:45.178" v="9340" actId="2696"/>
        <pc:sldMkLst>
          <pc:docMk/>
          <pc:sldMk cId="2332425725" sldId="331"/>
        </pc:sldMkLst>
        <pc:spChg chg="del">
          <ac:chgData name="Alina D" userId="24a60029abdc116d" providerId="LiveId" clId="{B2B885B0-7DDD-40D5-9AC7-E0D47B22B6DA}" dt="2018-06-03T10:52:45.174" v="9338" actId="478"/>
          <ac:spMkLst>
            <pc:docMk/>
            <pc:sldMk cId="2332425725" sldId="331"/>
            <ac:spMk id="4" creationId="{D97FE895-DC0B-4F0F-A351-151BF3DB0A82}"/>
          </ac:spMkLst>
        </pc:spChg>
        <pc:spChg chg="del mod">
          <ac:chgData name="Alina D" userId="24a60029abdc116d" providerId="LiveId" clId="{B2B885B0-7DDD-40D5-9AC7-E0D47B22B6DA}" dt="2018-06-03T10:52:44.187" v="8359" actId="478"/>
          <ac:spMkLst>
            <pc:docMk/>
            <pc:sldMk cId="2332425725" sldId="331"/>
            <ac:spMk id="6" creationId="{2AF87FF3-E9AF-4E68-A57E-1CB8BE30A53D}"/>
          </ac:spMkLst>
        </pc:spChg>
        <pc:cxnChg chg="del">
          <ac:chgData name="Alina D" userId="24a60029abdc116d" providerId="LiveId" clId="{B2B885B0-7DDD-40D5-9AC7-E0D47B22B6DA}" dt="2018-06-03T10:52:45.176" v="9339" actId="478"/>
          <ac:cxnSpMkLst>
            <pc:docMk/>
            <pc:sldMk cId="2332425725" sldId="331"/>
            <ac:cxnSpMk id="5" creationId="{22F92CE9-8A74-4D35-9BC5-5D45E93E670A}"/>
          </ac:cxnSpMkLst>
        </pc:cxnChg>
        <pc:cxnChg chg="del">
          <ac:chgData name="Alina D" userId="24a60029abdc116d" providerId="LiveId" clId="{B2B885B0-7DDD-40D5-9AC7-E0D47B22B6DA}" dt="2018-06-03T10:52:44.189" v="8360" actId="478"/>
          <ac:cxnSpMkLst>
            <pc:docMk/>
            <pc:sldMk cId="2332425725" sldId="331"/>
            <ac:cxnSpMk id="7" creationId="{107BB95A-0111-45DE-9146-B70F6B2DE650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90500" y="387350"/>
            <a:ext cx="540385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0500" y="8567738"/>
            <a:ext cx="13303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192F92C5-70AA-4E01-BF62-189D1393A1FB}" type="datetime4">
              <a:rPr lang="de-DE" smtClean="0"/>
              <a:t>23. August 2018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20825" y="8567738"/>
            <a:ext cx="4464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99163" y="8567738"/>
            <a:ext cx="6699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40400" y="360363"/>
            <a:ext cx="928688" cy="41751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90500" y="849630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8913" y="777875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32463" y="360363"/>
            <a:ext cx="935037" cy="420687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8913" y="8685213"/>
            <a:ext cx="1619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E8994A15-46CE-431D-A8C5-CECB78E6D643}" type="datetime4">
              <a:rPr lang="de-DE" smtClean="0"/>
              <a:t>23. August 2018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22388" y="923925"/>
            <a:ext cx="4194175" cy="30718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0500" y="4284663"/>
            <a:ext cx="6477000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808163" y="8685213"/>
            <a:ext cx="4105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3438" y="8685213"/>
            <a:ext cx="942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90500" y="387350"/>
            <a:ext cx="540385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8000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90500" y="78105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90500" y="8685213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8913" y="4103688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23. August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187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different </a:t>
            </a:r>
            <a:r>
              <a:rPr lang="de-DE" dirty="0" err="1"/>
              <a:t>area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endParaRPr lang="de-DE" dirty="0"/>
          </a:p>
          <a:p>
            <a:pPr marL="628650" lvl="1" indent="-171450">
              <a:buFontTx/>
              <a:buChar char="-"/>
            </a:pPr>
            <a:r>
              <a:rPr lang="de-DE" dirty="0"/>
              <a:t>Robotics</a:t>
            </a:r>
          </a:p>
          <a:p>
            <a:pPr marL="628650" lvl="1" indent="-171450">
              <a:buFontTx/>
              <a:buChar char="-"/>
            </a:pPr>
            <a:r>
              <a:rPr lang="de-DE" dirty="0" err="1"/>
              <a:t>Autonomous</a:t>
            </a:r>
            <a:r>
              <a:rPr lang="de-DE" dirty="0"/>
              <a:t> </a:t>
            </a:r>
            <a:r>
              <a:rPr lang="de-DE" dirty="0" err="1"/>
              <a:t>driving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23. August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657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original architecture of </a:t>
            </a:r>
            <a:r>
              <a:rPr lang="en-GB" dirty="0" err="1"/>
              <a:t>PixelNet</a:t>
            </a:r>
            <a:r>
              <a:rPr lang="en-GB" dirty="0"/>
              <a:t> is composed of convolutional layers (VGG-16) after the input image.</a:t>
            </a:r>
          </a:p>
          <a:p>
            <a:r>
              <a:rPr lang="en-GB" dirty="0"/>
              <a:t>These layers extract a so-called </a:t>
            </a:r>
            <a:r>
              <a:rPr lang="en-GB" dirty="0" err="1"/>
              <a:t>hypercolumn</a:t>
            </a:r>
            <a:r>
              <a:rPr lang="en-GB" dirty="0"/>
              <a:t> descriptor which then goes into a multilayer perceptron (MLP) for the nonlinear optimization. The </a:t>
            </a:r>
            <a:r>
              <a:rPr lang="en-GB" dirty="0" err="1"/>
              <a:t>hypercolumn</a:t>
            </a:r>
            <a:r>
              <a:rPr lang="en-GB" dirty="0"/>
              <a:t> descriptor consists of several features extracted from the convolutional layers. </a:t>
            </a:r>
          </a:p>
          <a:p>
            <a:r>
              <a:rPr lang="en-GB" dirty="0"/>
              <a:t>The last layer of the MLP then generates the respective output for the given task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23. August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2161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23. August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0948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 userDrawn="1"/>
        </p:nvSpPr>
        <p:spPr bwMode="auto">
          <a:xfrm>
            <a:off x="250825" y="368300"/>
            <a:ext cx="8642350" cy="2089150"/>
          </a:xfrm>
          <a:prstGeom prst="rect">
            <a:avLst/>
          </a:prstGeom>
          <a:solidFill>
            <a:srgbClr val="9C1C2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8775" y="1449388"/>
            <a:ext cx="6642117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 userDrawn="1"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9C1C26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pic>
        <p:nvPicPr>
          <p:cNvPr id="87049" name="Picture 9" descr="tud_logo"/>
          <p:cNvPicPr>
            <a:picLocks noChangeAspect="1" noChangeArrowheads="1"/>
          </p:cNvPicPr>
          <p:nvPr userDrawn="1"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7172325" y="657225"/>
            <a:ext cx="18732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7058" name="Rectangle 18"/>
          <p:cNvSpPr>
            <a:spLocks noChangeArrowheads="1"/>
          </p:cNvSpPr>
          <p:nvPr userDrawn="1"/>
        </p:nvSpPr>
        <p:spPr bwMode="auto">
          <a:xfrm>
            <a:off x="250825" y="36036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7059" name="Rectangle 19"/>
          <p:cNvSpPr>
            <a:spLocks noChangeArrowheads="1"/>
          </p:cNvSpPr>
          <p:nvPr userDrawn="1"/>
        </p:nvSpPr>
        <p:spPr bwMode="auto">
          <a:xfrm>
            <a:off x="250825" y="2457450"/>
            <a:ext cx="8640763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6A88C257-F87F-4769-A1B3-EBF276AB1D2A}"/>
              </a:ext>
            </a:extLst>
          </p:cNvPr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10.09.2018  |  Deep Learning Project | Alina Dallmann, Franz Klein, Fabian Ott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8213616" cy="4479943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B3E411D7-BF9F-4C00-B2DA-CA18BC4765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421455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421455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B25F573-A96F-4F52-ABFA-DED50293D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8775" y="1592263"/>
            <a:ext cx="4135438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6314" y="1592263"/>
            <a:ext cx="4105274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702980CB-E236-40CE-B52C-C118152AD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4C0AABC1-2CA1-4A22-BB43-87948E345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3AEDF1-49EB-4446-8E5D-A07D6CD48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7620" y="1620000"/>
            <a:ext cx="5000660" cy="45061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58776" y="1620000"/>
            <a:ext cx="3106738" cy="4506163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58775" y="488950"/>
            <a:ext cx="684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1BBD0549-2E83-4796-BB51-48073A694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928801"/>
            <a:ext cx="5486400" cy="279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1C916E53-6656-40D0-B9AB-4673CAC33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 userDrawn="1"/>
        </p:nvSpPr>
        <p:spPr bwMode="auto">
          <a:xfrm>
            <a:off x="250825" y="368300"/>
            <a:ext cx="86423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488950"/>
            <a:ext cx="664211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1620000"/>
            <a:ext cx="8316456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9C1C26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spect="1" noChangeArrowheads="1"/>
          </p:cNvPicPr>
          <p:nvPr userDrawn="1"/>
        </p:nvPicPr>
        <p:blipFill>
          <a:blip r:embed="rId10" cstate="print"/>
          <a:srcRect r="5453"/>
          <a:stretch>
            <a:fillRect/>
          </a:stretch>
        </p:blipFill>
        <p:spPr bwMode="auto">
          <a:xfrm>
            <a:off x="7167563" y="512763"/>
            <a:ext cx="18732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 userDrawn="1"/>
        </p:nvSpPr>
        <p:spPr bwMode="auto">
          <a:xfrm>
            <a:off x="250825" y="1449388"/>
            <a:ext cx="8640763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 userDrawn="1"/>
        </p:nvSpPr>
        <p:spPr bwMode="auto">
          <a:xfrm>
            <a:off x="250825" y="36671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3" name="Fußzeilenplatzhalter 3"/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10.09.2018  |  Deep Learning Project | Alina Dallmann, Franz Klein, Fabian Ott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82467E02-E796-42A9-894E-480BC81AA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olvocars.com/intl/buy/explore/intellisafe/autonomous-driving" TargetMode="External"/><Relationship Id="rId2" Type="http://schemas.openxmlformats.org/officeDocument/2006/relationships/hyperlink" Target="https://zumalo.com/wp-content/uploads/2017/05/ai-and-robotics-3252.jp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jpg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FB0636-570B-4EBE-B3EB-D3689F9D4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908050"/>
            <a:ext cx="6642117" cy="838200"/>
          </a:xfrm>
        </p:spPr>
        <p:txBody>
          <a:bodyPr/>
          <a:lstStyle/>
          <a:p>
            <a:r>
              <a:rPr lang="de-DE" sz="3200" dirty="0" err="1"/>
              <a:t>Semantic</a:t>
            </a:r>
            <a:r>
              <a:rPr lang="de-DE" sz="3200" dirty="0"/>
              <a:t> Segmentation </a:t>
            </a:r>
            <a:r>
              <a:rPr lang="de-DE" sz="3200" dirty="0" err="1"/>
              <a:t>with</a:t>
            </a:r>
            <a:r>
              <a:rPr lang="de-DE" sz="3200" dirty="0"/>
              <a:t> </a:t>
            </a:r>
            <a:r>
              <a:rPr lang="de-DE" sz="3200" dirty="0" err="1"/>
              <a:t>PixelNet</a:t>
            </a:r>
            <a:r>
              <a:rPr lang="de-DE" sz="3200" dirty="0"/>
              <a:t> on </a:t>
            </a:r>
            <a:r>
              <a:rPr lang="de-DE" sz="3200" dirty="0" err="1"/>
              <a:t>CityScapes</a:t>
            </a:r>
            <a:endParaRPr lang="de-DE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C13DEF-ADA9-40D7-9655-6368E51B1E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944" y="2941093"/>
            <a:ext cx="5580112" cy="279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9149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138C0-EAF4-474B-9FA5-5691CB1A0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ge Sourc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AE3E2A-B038-4BC9-87E6-042A0E0F01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arenR"/>
            </a:pPr>
            <a:r>
              <a:rPr lang="de-DE" dirty="0" err="1"/>
              <a:t>CityScapes</a:t>
            </a:r>
            <a:r>
              <a:rPr lang="de-DE" dirty="0"/>
              <a:t> Dataset: Darmstadt</a:t>
            </a:r>
          </a:p>
          <a:p>
            <a:pPr marL="457200" indent="-457200">
              <a:buAutoNum type="arabicParenR"/>
            </a:pPr>
            <a:r>
              <a:rPr lang="de-DE" dirty="0"/>
              <a:t>Robot: </a:t>
            </a:r>
            <a:r>
              <a:rPr lang="de-DE" dirty="0">
                <a:hlinkClick r:id="rId2"/>
              </a:rPr>
              <a:t>https://zumalo.com/wp-content/uploads/2017/05/ai-and-robotics-3252.jpg</a:t>
            </a:r>
            <a:r>
              <a:rPr lang="de-DE" dirty="0"/>
              <a:t>; Street Scene: </a:t>
            </a:r>
            <a:r>
              <a:rPr lang="de-DE" dirty="0">
                <a:hlinkClick r:id="rId3"/>
              </a:rPr>
              <a:t>https://www.volvocars.com/intl/buy/explore/intellisafe/autonomous-driving</a:t>
            </a:r>
            <a:r>
              <a:rPr lang="de-DE" dirty="0"/>
              <a:t> 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6581CC-7D5E-43DA-B596-DBEDD0ACFC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533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The Importance of Semantic Segmentation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E460789-22ED-400A-82CA-E823E455617A}"/>
              </a:ext>
            </a:extLst>
          </p:cNvPr>
          <p:cNvSpPr/>
          <p:nvPr/>
        </p:nvSpPr>
        <p:spPr>
          <a:xfrm>
            <a:off x="330724" y="1620000"/>
            <a:ext cx="8242891" cy="944904"/>
          </a:xfrm>
          <a:custGeom>
            <a:avLst/>
            <a:gdLst>
              <a:gd name="connsiteX0" fmla="*/ 0 w 2225196"/>
              <a:gd name="connsiteY0" fmla="*/ 133512 h 1335117"/>
              <a:gd name="connsiteX1" fmla="*/ 133512 w 2225196"/>
              <a:gd name="connsiteY1" fmla="*/ 0 h 1335117"/>
              <a:gd name="connsiteX2" fmla="*/ 2091684 w 2225196"/>
              <a:gd name="connsiteY2" fmla="*/ 0 h 1335117"/>
              <a:gd name="connsiteX3" fmla="*/ 2225196 w 2225196"/>
              <a:gd name="connsiteY3" fmla="*/ 133512 h 1335117"/>
              <a:gd name="connsiteX4" fmla="*/ 2225196 w 2225196"/>
              <a:gd name="connsiteY4" fmla="*/ 1201605 h 1335117"/>
              <a:gd name="connsiteX5" fmla="*/ 2091684 w 2225196"/>
              <a:gd name="connsiteY5" fmla="*/ 1335117 h 1335117"/>
              <a:gd name="connsiteX6" fmla="*/ 133512 w 2225196"/>
              <a:gd name="connsiteY6" fmla="*/ 1335117 h 1335117"/>
              <a:gd name="connsiteX7" fmla="*/ 0 w 2225196"/>
              <a:gd name="connsiteY7" fmla="*/ 1201605 h 1335117"/>
              <a:gd name="connsiteX8" fmla="*/ 0 w 2225196"/>
              <a:gd name="connsiteY8" fmla="*/ 133512 h 1335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5196" h="1335117">
                <a:moveTo>
                  <a:pt x="0" y="133512"/>
                </a:moveTo>
                <a:cubicBezTo>
                  <a:pt x="0" y="59775"/>
                  <a:pt x="59775" y="0"/>
                  <a:pt x="133512" y="0"/>
                </a:cubicBezTo>
                <a:lnTo>
                  <a:pt x="2091684" y="0"/>
                </a:lnTo>
                <a:cubicBezTo>
                  <a:pt x="2165421" y="0"/>
                  <a:pt x="2225196" y="59775"/>
                  <a:pt x="2225196" y="133512"/>
                </a:cubicBezTo>
                <a:lnTo>
                  <a:pt x="2225196" y="1201605"/>
                </a:lnTo>
                <a:cubicBezTo>
                  <a:pt x="2225196" y="1275342"/>
                  <a:pt x="2165421" y="1335117"/>
                  <a:pt x="2091684" y="1335117"/>
                </a:cubicBezTo>
                <a:lnTo>
                  <a:pt x="133512" y="1335117"/>
                </a:lnTo>
                <a:cubicBezTo>
                  <a:pt x="59775" y="1335117"/>
                  <a:pt x="0" y="1275342"/>
                  <a:pt x="0" y="1201605"/>
                </a:cubicBezTo>
                <a:lnTo>
                  <a:pt x="0" y="133512"/>
                </a:lnTo>
                <a:close/>
              </a:path>
            </a:pathLst>
          </a:custGeom>
          <a:solidFill>
            <a:srgbClr val="9C1C26"/>
          </a:solidFill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44" tIns="92444" rIns="92444" bIns="92444" numCol="1" spcCol="1270" anchor="t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ym typeface="Wingdings" panose="05000000000000000000" pitchFamily="2" charset="2"/>
              </a:rPr>
              <a:t>Semantic Segmentation</a:t>
            </a:r>
            <a:endParaRPr lang="en-GB" sz="1600" b="1" kern="1200" dirty="0"/>
          </a:p>
          <a:p>
            <a:pPr marL="0" lvl="1" algn="ctr" defTabSz="488950">
              <a:lnSpc>
                <a:spcPct val="90000"/>
              </a:lnSpc>
              <a:spcAft>
                <a:spcPct val="15000"/>
              </a:spcAft>
            </a:pPr>
            <a:r>
              <a:rPr lang="en-GB" sz="1600" dirty="0"/>
              <a:t>attempts to partition the image into semantically meaningful parts in order to classify each part</a:t>
            </a:r>
            <a:endParaRPr lang="en-GB" sz="1600" kern="1200" dirty="0"/>
          </a:p>
        </p:txBody>
      </p:sp>
      <p:pic>
        <p:nvPicPr>
          <p:cNvPr id="10" name="Content Placeholder 9" descr="A picture containing object, wall, indoor&#10;&#10;Description generated with high confidence">
            <a:extLst>
              <a:ext uri="{FF2B5EF4-FFF2-40B4-BE49-F238E27FC236}">
                <a16:creationId xmlns:a16="http://schemas.microsoft.com/office/drawing/2014/main" id="{D332F8E4-EB26-4438-8DCB-FFC3AC298D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84" y="2737292"/>
            <a:ext cx="2849487" cy="3595781"/>
          </a:xfrm>
        </p:spPr>
      </p:pic>
      <p:pic>
        <p:nvPicPr>
          <p:cNvPr id="14" name="Picture 13" descr="A car driving on a city street filled with lots of traffic&#10;&#10;Description generated with very high confidence">
            <a:extLst>
              <a:ext uri="{FF2B5EF4-FFF2-40B4-BE49-F238E27FC236}">
                <a16:creationId xmlns:a16="http://schemas.microsoft.com/office/drawing/2014/main" id="{EFA3F2A2-0165-466C-8E3C-E1F10291E3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190" y="2737292"/>
            <a:ext cx="3428011" cy="34280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39757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 err="1"/>
              <a:t>PixelNet</a:t>
            </a:r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052D12A-D6BB-41DD-8E4B-56A70D694D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465137" y="1484784"/>
            <a:ext cx="8213725" cy="21303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38" name="Rechteck 103">
            <a:extLst>
              <a:ext uri="{FF2B5EF4-FFF2-40B4-BE49-F238E27FC236}">
                <a16:creationId xmlns:a16="http://schemas.microsoft.com/office/drawing/2014/main" id="{C1F031D9-F2C7-484F-A1DB-F990D7B85CF1}"/>
              </a:ext>
            </a:extLst>
          </p:cNvPr>
          <p:cNvSpPr>
            <a:spLocks noChangeAspect="1"/>
          </p:cNvSpPr>
          <p:nvPr/>
        </p:nvSpPr>
        <p:spPr bwMode="auto">
          <a:xfrm>
            <a:off x="554226" y="3807735"/>
            <a:ext cx="338554" cy="33855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B10B4D-2395-4855-8AC9-AB05D36B7ADF}"/>
              </a:ext>
            </a:extLst>
          </p:cNvPr>
          <p:cNvSpPr txBox="1"/>
          <p:nvPr/>
        </p:nvSpPr>
        <p:spPr>
          <a:xfrm>
            <a:off x="986428" y="3802561"/>
            <a:ext cx="682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Input </a:t>
            </a:r>
            <a:r>
              <a:rPr lang="de-DE" sz="1600" dirty="0" err="1"/>
              <a:t>image</a:t>
            </a:r>
            <a:r>
              <a:rPr lang="de-DE" sz="1600" dirty="0"/>
              <a:t> </a:t>
            </a:r>
            <a:r>
              <a:rPr lang="de-DE" sz="1600" dirty="0" err="1"/>
              <a:t>fed</a:t>
            </a:r>
            <a:r>
              <a:rPr lang="de-DE" sz="1600" dirty="0"/>
              <a:t> </a:t>
            </a:r>
            <a:r>
              <a:rPr lang="de-DE" sz="1600" dirty="0" err="1"/>
              <a:t>into</a:t>
            </a:r>
            <a:r>
              <a:rPr lang="de-DE" sz="1600" dirty="0"/>
              <a:t> VGG </a:t>
            </a:r>
            <a:r>
              <a:rPr lang="de-DE" sz="1600" dirty="0" err="1"/>
              <a:t>convolutional</a:t>
            </a:r>
            <a:r>
              <a:rPr lang="de-DE" sz="1600" dirty="0"/>
              <a:t> </a:t>
            </a:r>
            <a:r>
              <a:rPr lang="de-DE" sz="1600" dirty="0" err="1"/>
              <a:t>layers</a:t>
            </a:r>
            <a:endParaRPr lang="en-GB" sz="1600" dirty="0"/>
          </a:p>
        </p:txBody>
      </p:sp>
      <p:sp>
        <p:nvSpPr>
          <p:cNvPr id="139" name="Rechteck 103">
            <a:extLst>
              <a:ext uri="{FF2B5EF4-FFF2-40B4-BE49-F238E27FC236}">
                <a16:creationId xmlns:a16="http://schemas.microsoft.com/office/drawing/2014/main" id="{0A488F37-865F-4DDF-A7AB-58EF1A1EE326}"/>
              </a:ext>
            </a:extLst>
          </p:cNvPr>
          <p:cNvSpPr>
            <a:spLocks noChangeAspect="1"/>
          </p:cNvSpPr>
          <p:nvPr/>
        </p:nvSpPr>
        <p:spPr bwMode="auto">
          <a:xfrm>
            <a:off x="554380" y="4287750"/>
            <a:ext cx="338400" cy="338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2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4193CC7-5A64-4B4E-9791-3948960B9F5D}"/>
              </a:ext>
            </a:extLst>
          </p:cNvPr>
          <p:cNvSpPr txBox="1"/>
          <p:nvPr/>
        </p:nvSpPr>
        <p:spPr>
          <a:xfrm>
            <a:off x="986428" y="4287203"/>
            <a:ext cx="682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/>
              <a:t>Hypercolumn</a:t>
            </a:r>
            <a:r>
              <a:rPr lang="de-DE" sz="1600" dirty="0"/>
              <a:t> </a:t>
            </a:r>
            <a:r>
              <a:rPr lang="de-DE" sz="1600" dirty="0" err="1"/>
              <a:t>descriptor</a:t>
            </a:r>
            <a:r>
              <a:rPr lang="de-DE" sz="1600" dirty="0"/>
              <a:t>: </a:t>
            </a:r>
            <a:r>
              <a:rPr lang="de-DE" sz="1600" dirty="0" err="1"/>
              <a:t>extracted</a:t>
            </a:r>
            <a:r>
              <a:rPr lang="de-DE" sz="1600" dirty="0"/>
              <a:t> </a:t>
            </a:r>
            <a:r>
              <a:rPr lang="de-DE" sz="1600" dirty="0" err="1"/>
              <a:t>features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</a:t>
            </a:r>
            <a:r>
              <a:rPr lang="de-DE" sz="1600" dirty="0" err="1"/>
              <a:t>each</a:t>
            </a:r>
            <a:r>
              <a:rPr lang="de-DE" sz="1600" dirty="0"/>
              <a:t> VGG </a:t>
            </a:r>
            <a:r>
              <a:rPr lang="de-DE" sz="1600" dirty="0" err="1"/>
              <a:t>layer</a:t>
            </a:r>
            <a:endParaRPr lang="en-GB" sz="1600" dirty="0"/>
          </a:p>
        </p:txBody>
      </p:sp>
      <p:sp>
        <p:nvSpPr>
          <p:cNvPr id="141" name="Rechteck 103">
            <a:extLst>
              <a:ext uri="{FF2B5EF4-FFF2-40B4-BE49-F238E27FC236}">
                <a16:creationId xmlns:a16="http://schemas.microsoft.com/office/drawing/2014/main" id="{22A8D39C-2AB5-4639-9305-0AEFE3853B94}"/>
              </a:ext>
            </a:extLst>
          </p:cNvPr>
          <p:cNvSpPr>
            <a:spLocks noChangeAspect="1"/>
          </p:cNvSpPr>
          <p:nvPr/>
        </p:nvSpPr>
        <p:spPr bwMode="auto">
          <a:xfrm>
            <a:off x="554380" y="4766175"/>
            <a:ext cx="338400" cy="338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3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4C9A0D7-AA8A-44B8-893E-FB424F471E59}"/>
              </a:ext>
            </a:extLst>
          </p:cNvPr>
          <p:cNvSpPr txBox="1"/>
          <p:nvPr/>
        </p:nvSpPr>
        <p:spPr>
          <a:xfrm>
            <a:off x="986428" y="4766021"/>
            <a:ext cx="682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/>
              <a:t>Multilayer</a:t>
            </a:r>
            <a:r>
              <a:rPr lang="de-DE" sz="1600" dirty="0"/>
              <a:t> </a:t>
            </a:r>
            <a:r>
              <a:rPr lang="de-DE" sz="1600" dirty="0" err="1"/>
              <a:t>perceptron</a:t>
            </a:r>
            <a:r>
              <a:rPr lang="de-DE" sz="1600" dirty="0"/>
              <a:t> </a:t>
            </a:r>
            <a:endParaRPr lang="en-GB" sz="1600" dirty="0"/>
          </a:p>
        </p:txBody>
      </p:sp>
      <p:sp>
        <p:nvSpPr>
          <p:cNvPr id="143" name="Rechteck 103">
            <a:extLst>
              <a:ext uri="{FF2B5EF4-FFF2-40B4-BE49-F238E27FC236}">
                <a16:creationId xmlns:a16="http://schemas.microsoft.com/office/drawing/2014/main" id="{8A21D5B4-E63E-42DA-9F51-355ED304B351}"/>
              </a:ext>
            </a:extLst>
          </p:cNvPr>
          <p:cNvSpPr>
            <a:spLocks noChangeAspect="1"/>
          </p:cNvSpPr>
          <p:nvPr/>
        </p:nvSpPr>
        <p:spPr bwMode="auto">
          <a:xfrm>
            <a:off x="554380" y="5250663"/>
            <a:ext cx="338400" cy="338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4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2CAB8E3-98A7-4F84-B6D8-2BE1D3635A57}"/>
              </a:ext>
            </a:extLst>
          </p:cNvPr>
          <p:cNvSpPr txBox="1"/>
          <p:nvPr/>
        </p:nvSpPr>
        <p:spPr>
          <a:xfrm>
            <a:off x="986428" y="5250509"/>
            <a:ext cx="6825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Output: </a:t>
            </a:r>
            <a:r>
              <a:rPr lang="de-DE" sz="1600" dirty="0" err="1"/>
              <a:t>class</a:t>
            </a:r>
            <a:r>
              <a:rPr lang="de-DE" sz="1600" dirty="0"/>
              <a:t> </a:t>
            </a:r>
            <a:r>
              <a:rPr lang="de-DE" sz="1600" dirty="0" err="1"/>
              <a:t>labels</a:t>
            </a:r>
            <a:endParaRPr lang="en-GB" sz="1600" dirty="0"/>
          </a:p>
        </p:txBody>
      </p:sp>
      <p:sp>
        <p:nvSpPr>
          <p:cNvPr id="146" name="Arrow: Right 145">
            <a:extLst>
              <a:ext uri="{FF2B5EF4-FFF2-40B4-BE49-F238E27FC236}">
                <a16:creationId xmlns:a16="http://schemas.microsoft.com/office/drawing/2014/main" id="{0CF12605-321F-4C13-B647-285B4DBFC862}"/>
              </a:ext>
            </a:extLst>
          </p:cNvPr>
          <p:cNvSpPr/>
          <p:nvPr/>
        </p:nvSpPr>
        <p:spPr>
          <a:xfrm>
            <a:off x="372467" y="5833199"/>
            <a:ext cx="432049" cy="360040"/>
          </a:xfrm>
          <a:prstGeom prst="rightArrow">
            <a:avLst/>
          </a:prstGeom>
          <a:solidFill>
            <a:srgbClr val="9C1C26"/>
          </a:solidFill>
          <a:ln>
            <a:solidFill>
              <a:srgbClr val="9C1C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C2419776-09DA-441B-A4E5-DC290C742D97}"/>
              </a:ext>
            </a:extLst>
          </p:cNvPr>
          <p:cNvSpPr txBox="1"/>
          <p:nvPr/>
        </p:nvSpPr>
        <p:spPr>
          <a:xfrm>
            <a:off x="804516" y="5734997"/>
            <a:ext cx="80879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i="1" dirty="0">
                <a:sym typeface="Wingdings" panose="05000000000000000000" pitchFamily="2" charset="2"/>
              </a:rPr>
              <a:t>As semantic segmentation is useful for autonomous driving issues, </a:t>
            </a:r>
            <a:r>
              <a:rPr lang="en-GB" sz="1600" i="1" dirty="0" err="1">
                <a:sym typeface="Wingdings" panose="05000000000000000000" pitchFamily="2" charset="2"/>
              </a:rPr>
              <a:t>PixelNet</a:t>
            </a:r>
            <a:r>
              <a:rPr lang="en-GB" sz="1600" i="1" dirty="0">
                <a:sym typeface="Wingdings" panose="05000000000000000000" pitchFamily="2" charset="2"/>
              </a:rPr>
              <a:t> might be a useful networ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3692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" grpId="0" animBg="1"/>
      <p:bldP spid="14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Our approach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Richtungspfeil 7">
            <a:extLst>
              <a:ext uri="{FF2B5EF4-FFF2-40B4-BE49-F238E27FC236}">
                <a16:creationId xmlns:a16="http://schemas.microsoft.com/office/drawing/2014/main" id="{D89F7CEB-42A6-40BD-BCE4-02EDE70A1A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5400000">
            <a:off x="1620776" y="474726"/>
            <a:ext cx="1509712" cy="3960688"/>
          </a:xfrm>
          <a:prstGeom prst="homePlate">
            <a:avLst>
              <a:gd name="adj" fmla="val 16924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 dirty="0">
                <a:latin typeface="Arial" panose="020B0604020202020204" pitchFamily="34" charset="0"/>
              </a:rPr>
              <a:t>I</a:t>
            </a:r>
            <a:r>
              <a:rPr lang="en-GB" b="1" dirty="0" err="1">
                <a:latin typeface="Arial" panose="020B0604020202020204" pitchFamily="34" charset="0"/>
              </a:rPr>
              <a:t>mplementing</a:t>
            </a:r>
            <a:r>
              <a:rPr lang="en-GB" b="1" dirty="0">
                <a:latin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</a:rPr>
              <a:t>PixelNet</a:t>
            </a:r>
            <a:r>
              <a:rPr lang="en-GB" b="1" dirty="0">
                <a:latin typeface="Arial" panose="020B0604020202020204" pitchFamily="34" charset="0"/>
              </a:rPr>
              <a:t> with </a:t>
            </a:r>
            <a:r>
              <a:rPr lang="en-GB" b="1" dirty="0" err="1">
                <a:latin typeface="Arial" panose="020B0604020202020204" pitchFamily="34" charset="0"/>
              </a:rPr>
              <a:t>Tensorflow</a:t>
            </a:r>
            <a:endParaRPr lang="en-GB" b="1" dirty="0">
              <a:latin typeface="Arial" panose="020B0604020202020204" pitchFamily="34" charset="0"/>
            </a:endParaRPr>
          </a:p>
        </p:txBody>
      </p:sp>
      <p:sp>
        <p:nvSpPr>
          <p:cNvPr id="6" name="Eingekerbter Richtungspfeil 8">
            <a:extLst>
              <a:ext uri="{FF2B5EF4-FFF2-40B4-BE49-F238E27FC236}">
                <a16:creationId xmlns:a16="http://schemas.microsoft.com/office/drawing/2014/main" id="{285B4E53-7DA1-40C6-88AC-CE93F75C6A4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5400000">
            <a:off x="1624744" y="3140934"/>
            <a:ext cx="1501775" cy="3960688"/>
          </a:xfrm>
          <a:prstGeom prst="chevron">
            <a:avLst>
              <a:gd name="adj" fmla="val 16917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/>
            <a:r>
              <a:rPr lang="en-GB" b="1" dirty="0">
                <a:latin typeface="Arial" panose="020B0604020202020204" pitchFamily="34" charset="0"/>
              </a:rPr>
              <a:t>Training </a:t>
            </a:r>
            <a:r>
              <a:rPr lang="en-GB" b="1">
                <a:latin typeface="Arial" panose="020B0604020202020204" pitchFamily="34" charset="0"/>
              </a:rPr>
              <a:t>the network</a:t>
            </a:r>
            <a:endParaRPr lang="en-GB" b="1" dirty="0">
              <a:latin typeface="Arial" panose="020B0604020202020204" pitchFamily="34" charset="0"/>
            </a:endParaRPr>
          </a:p>
        </p:txBody>
      </p:sp>
      <p:sp>
        <p:nvSpPr>
          <p:cNvPr id="7" name="Eingekerbter Richtungspfeil 10">
            <a:extLst>
              <a:ext uri="{FF2B5EF4-FFF2-40B4-BE49-F238E27FC236}">
                <a16:creationId xmlns:a16="http://schemas.microsoft.com/office/drawing/2014/main" id="{982C8841-E88D-4BC9-83FB-C9AD409ECEF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5400000">
            <a:off x="1624744" y="1809815"/>
            <a:ext cx="1501775" cy="3960688"/>
          </a:xfrm>
          <a:prstGeom prst="chevron">
            <a:avLst>
              <a:gd name="adj" fmla="val 16917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/>
            <a:r>
              <a:rPr lang="de-DE" b="1" dirty="0">
                <a:latin typeface="Arial" panose="020B0604020202020204" pitchFamily="34" charset="0"/>
              </a:rPr>
              <a:t>Feed </a:t>
            </a:r>
            <a:r>
              <a:rPr lang="de-DE" b="1" dirty="0" err="1">
                <a:latin typeface="Arial" panose="020B0604020202020204" pitchFamily="34" charset="0"/>
              </a:rPr>
              <a:t>Cityscapes</a:t>
            </a:r>
            <a:r>
              <a:rPr lang="de-DE" b="1" dirty="0">
                <a:latin typeface="Arial" panose="020B0604020202020204" pitchFamily="34" charset="0"/>
              </a:rPr>
              <a:t> Dataset </a:t>
            </a:r>
            <a:r>
              <a:rPr lang="de-DE" b="1" dirty="0" err="1">
                <a:latin typeface="Arial" panose="020B0604020202020204" pitchFamily="34" charset="0"/>
              </a:rPr>
              <a:t>into</a:t>
            </a:r>
            <a:r>
              <a:rPr lang="de-DE" b="1" dirty="0">
                <a:latin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</a:rPr>
              <a:t>PixelNet</a:t>
            </a:r>
            <a:endParaRPr lang="en-GB" b="1" dirty="0"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8843A0-7C75-4D9C-8F94-99D6AC8F589A}"/>
              </a:ext>
            </a:extLst>
          </p:cNvPr>
          <p:cNvSpPr/>
          <p:nvPr/>
        </p:nvSpPr>
        <p:spPr>
          <a:xfrm>
            <a:off x="4860032" y="1700214"/>
            <a:ext cx="3888680" cy="41719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Output-Bild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3920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Resul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AC2960-A02D-4ABE-A976-6419419048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5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609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Results(2)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AC2960-A02D-4ABE-A976-6419419048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6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1430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Outlook</a:t>
            </a:r>
          </a:p>
        </p:txBody>
      </p:sp>
      <p:sp>
        <p:nvSpPr>
          <p:cNvPr id="4" name="Block Arc 3">
            <a:extLst>
              <a:ext uri="{FF2B5EF4-FFF2-40B4-BE49-F238E27FC236}">
                <a16:creationId xmlns:a16="http://schemas.microsoft.com/office/drawing/2014/main" id="{C4BF589C-98C5-4461-86A4-D2E22F80BC5A}"/>
              </a:ext>
            </a:extLst>
          </p:cNvPr>
          <p:cNvSpPr/>
          <p:nvPr/>
        </p:nvSpPr>
        <p:spPr>
          <a:xfrm>
            <a:off x="-4704542" y="884259"/>
            <a:ext cx="6031819" cy="6031819"/>
          </a:xfrm>
          <a:prstGeom prst="blockArc">
            <a:avLst>
              <a:gd name="adj1" fmla="val 18900000"/>
              <a:gd name="adj2" fmla="val 2700000"/>
              <a:gd name="adj3" fmla="val 358"/>
            </a:avLst>
          </a:prstGeom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E77C7A0-C25A-4593-BBF0-99DA4BDF05BE}"/>
              </a:ext>
            </a:extLst>
          </p:cNvPr>
          <p:cNvSpPr/>
          <p:nvPr/>
        </p:nvSpPr>
        <p:spPr>
          <a:xfrm>
            <a:off x="982243" y="2067242"/>
            <a:ext cx="7530088" cy="895985"/>
          </a:xfrm>
          <a:custGeom>
            <a:avLst/>
            <a:gdLst>
              <a:gd name="connsiteX0" fmla="*/ 0 w 7530088"/>
              <a:gd name="connsiteY0" fmla="*/ 0 h 895985"/>
              <a:gd name="connsiteX1" fmla="*/ 7530088 w 7530088"/>
              <a:gd name="connsiteY1" fmla="*/ 0 h 895985"/>
              <a:gd name="connsiteX2" fmla="*/ 7530088 w 7530088"/>
              <a:gd name="connsiteY2" fmla="*/ 895985 h 895985"/>
              <a:gd name="connsiteX3" fmla="*/ 0 w 7530088"/>
              <a:gd name="connsiteY3" fmla="*/ 895985 h 895985"/>
              <a:gd name="connsiteX4" fmla="*/ 0 w 7530088"/>
              <a:gd name="connsiteY4" fmla="*/ 0 h 89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0088" h="895985">
                <a:moveTo>
                  <a:pt x="0" y="0"/>
                </a:moveTo>
                <a:lnTo>
                  <a:pt x="7530088" y="0"/>
                </a:lnTo>
                <a:lnTo>
                  <a:pt x="7530088" y="895985"/>
                </a:lnTo>
                <a:lnTo>
                  <a:pt x="0" y="895985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44" tIns="92444" rIns="92444" bIns="92444" numCol="1" spcCol="1270" anchor="t" anchorCtr="0">
            <a:noAutofit/>
          </a:bodyPr>
          <a:lstStyle/>
          <a:p>
            <a:pPr marL="0" lvl="0" indent="0" algn="r" defTabSz="889000" rtl="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000" b="1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Replacing the VGG-16 architecture with a </a:t>
            </a:r>
            <a:r>
              <a:rPr lang="en-GB" sz="2000" b="1" kern="1200" dirty="0" err="1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ResNet</a:t>
            </a:r>
            <a:r>
              <a:rPr lang="en-GB" sz="2000" b="1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 implementation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3C0C859-D94D-4C74-B6D5-D0871A7E6B5B}"/>
              </a:ext>
            </a:extLst>
          </p:cNvPr>
          <p:cNvSpPr/>
          <p:nvPr/>
        </p:nvSpPr>
        <p:spPr>
          <a:xfrm>
            <a:off x="422253" y="1955244"/>
            <a:ext cx="1119981" cy="1119981"/>
          </a:xfrm>
          <a:prstGeom prst="ellipse">
            <a:avLst/>
          </a:prstGeom>
          <a:solidFill>
            <a:srgbClr val="9C1C26"/>
          </a:solidFill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407A3A1-D5C9-49CD-BCFF-860F21EBE961}"/>
              </a:ext>
            </a:extLst>
          </p:cNvPr>
          <p:cNvSpPr/>
          <p:nvPr/>
        </p:nvSpPr>
        <p:spPr>
          <a:xfrm>
            <a:off x="1307934" y="3411220"/>
            <a:ext cx="7204397" cy="895985"/>
          </a:xfrm>
          <a:custGeom>
            <a:avLst/>
            <a:gdLst>
              <a:gd name="connsiteX0" fmla="*/ 0 w 7204397"/>
              <a:gd name="connsiteY0" fmla="*/ 0 h 895985"/>
              <a:gd name="connsiteX1" fmla="*/ 7204397 w 7204397"/>
              <a:gd name="connsiteY1" fmla="*/ 0 h 895985"/>
              <a:gd name="connsiteX2" fmla="*/ 7204397 w 7204397"/>
              <a:gd name="connsiteY2" fmla="*/ 895985 h 895985"/>
              <a:gd name="connsiteX3" fmla="*/ 0 w 7204397"/>
              <a:gd name="connsiteY3" fmla="*/ 895985 h 895985"/>
              <a:gd name="connsiteX4" fmla="*/ 0 w 7204397"/>
              <a:gd name="connsiteY4" fmla="*/ 0 h 89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4397" h="895985">
                <a:moveTo>
                  <a:pt x="0" y="0"/>
                </a:moveTo>
                <a:lnTo>
                  <a:pt x="7204397" y="0"/>
                </a:lnTo>
                <a:lnTo>
                  <a:pt x="7204397" y="895985"/>
                </a:lnTo>
                <a:lnTo>
                  <a:pt x="0" y="895985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44" tIns="92444" rIns="92444" bIns="92444" numCol="1" spcCol="1270" anchor="t" anchorCtr="0">
            <a:noAutofit/>
          </a:bodyPr>
          <a:lstStyle/>
          <a:p>
            <a:pPr algn="r" defTabSz="889000">
              <a:lnSpc>
                <a:spcPct val="90000"/>
              </a:lnSpc>
              <a:spcAft>
                <a:spcPct val="35000"/>
              </a:spcAft>
            </a:pPr>
            <a:r>
              <a:rPr lang="de-DE" sz="2000" b="1" dirty="0" err="1">
                <a:solidFill>
                  <a:sysClr val="windowText" lastClr="000000"/>
                </a:solidFill>
              </a:rPr>
              <a:t>Apply</a:t>
            </a:r>
            <a:r>
              <a:rPr lang="de-DE" sz="2000" b="1" dirty="0">
                <a:solidFill>
                  <a:sysClr val="windowText" lastClr="000000"/>
                </a:solidFill>
              </a:rPr>
              <a:t> network </a:t>
            </a:r>
            <a:r>
              <a:rPr lang="de-DE" sz="2000" b="1" dirty="0" err="1">
                <a:solidFill>
                  <a:sysClr val="windowText" lastClr="000000"/>
                </a:solidFill>
              </a:rPr>
              <a:t>to</a:t>
            </a:r>
            <a:r>
              <a:rPr lang="de-DE" sz="2000" b="1" dirty="0">
                <a:solidFill>
                  <a:sysClr val="windowText" lastClr="000000"/>
                </a:solidFill>
              </a:rPr>
              <a:t> </a:t>
            </a:r>
            <a:r>
              <a:rPr lang="de-DE" sz="2000" b="1" dirty="0" err="1">
                <a:solidFill>
                  <a:sysClr val="windowText" lastClr="000000"/>
                </a:solidFill>
              </a:rPr>
              <a:t>other</a:t>
            </a:r>
            <a:r>
              <a:rPr lang="de-DE" sz="2000" b="1" dirty="0">
                <a:solidFill>
                  <a:sysClr val="windowText" lastClr="000000"/>
                </a:solidFill>
              </a:rPr>
              <a:t> </a:t>
            </a:r>
            <a:r>
              <a:rPr lang="de-DE" sz="2000" b="1" err="1">
                <a:solidFill>
                  <a:sysClr val="windowText" lastClr="000000"/>
                </a:solidFill>
              </a:rPr>
              <a:t>use</a:t>
            </a:r>
            <a:r>
              <a:rPr lang="de-DE" sz="2000" b="1">
                <a:solidFill>
                  <a:sysClr val="windowText" lastClr="000000"/>
                </a:solidFill>
              </a:rPr>
              <a:t> cases</a:t>
            </a:r>
            <a:endParaRPr lang="en-GB" sz="20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5596A3A-430F-4ADC-A695-ADC89132365E}"/>
              </a:ext>
            </a:extLst>
          </p:cNvPr>
          <p:cNvSpPr/>
          <p:nvPr/>
        </p:nvSpPr>
        <p:spPr>
          <a:xfrm>
            <a:off x="747943" y="3299221"/>
            <a:ext cx="1119981" cy="1119981"/>
          </a:xfrm>
          <a:prstGeom prst="ellipse">
            <a:avLst/>
          </a:prstGeom>
          <a:solidFill>
            <a:srgbClr val="9C1C26"/>
          </a:solidFill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C2DB37F-ECB7-40EC-A099-037EFE39D389}"/>
              </a:ext>
            </a:extLst>
          </p:cNvPr>
          <p:cNvSpPr/>
          <p:nvPr/>
        </p:nvSpPr>
        <p:spPr>
          <a:xfrm>
            <a:off x="982243" y="4755197"/>
            <a:ext cx="7530088" cy="895985"/>
          </a:xfrm>
          <a:custGeom>
            <a:avLst/>
            <a:gdLst>
              <a:gd name="connsiteX0" fmla="*/ 0 w 7530088"/>
              <a:gd name="connsiteY0" fmla="*/ 0 h 895985"/>
              <a:gd name="connsiteX1" fmla="*/ 7530088 w 7530088"/>
              <a:gd name="connsiteY1" fmla="*/ 0 h 895985"/>
              <a:gd name="connsiteX2" fmla="*/ 7530088 w 7530088"/>
              <a:gd name="connsiteY2" fmla="*/ 895985 h 895985"/>
              <a:gd name="connsiteX3" fmla="*/ 0 w 7530088"/>
              <a:gd name="connsiteY3" fmla="*/ 895985 h 895985"/>
              <a:gd name="connsiteX4" fmla="*/ 0 w 7530088"/>
              <a:gd name="connsiteY4" fmla="*/ 0 h 89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0088" h="895985">
                <a:moveTo>
                  <a:pt x="0" y="0"/>
                </a:moveTo>
                <a:lnTo>
                  <a:pt x="7530088" y="0"/>
                </a:lnTo>
                <a:lnTo>
                  <a:pt x="7530088" y="895985"/>
                </a:lnTo>
                <a:lnTo>
                  <a:pt x="0" y="895985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44" tIns="92444" rIns="92444" bIns="92444" numCol="1" spcCol="1270" anchor="t" anchorCtr="0">
            <a:noAutofit/>
          </a:bodyPr>
          <a:lstStyle/>
          <a:p>
            <a:pPr algn="r" defTabSz="889000">
              <a:lnSpc>
                <a:spcPct val="90000"/>
              </a:lnSpc>
              <a:spcAft>
                <a:spcPct val="35000"/>
              </a:spcAft>
            </a:pPr>
            <a:r>
              <a:rPr lang="de-DE" sz="2000" b="1">
                <a:solidFill>
                  <a:sysClr val="windowText" lastClr="000000"/>
                </a:solidFill>
              </a:rPr>
              <a:t>…</a:t>
            </a:r>
            <a:endParaRPr lang="en-GB" sz="2000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0196F51-58F4-4F5A-81FF-E0EF50364BA4}"/>
              </a:ext>
            </a:extLst>
          </p:cNvPr>
          <p:cNvSpPr/>
          <p:nvPr/>
        </p:nvSpPr>
        <p:spPr>
          <a:xfrm>
            <a:off x="422253" y="4643199"/>
            <a:ext cx="1119981" cy="1119981"/>
          </a:xfrm>
          <a:prstGeom prst="ellipse">
            <a:avLst/>
          </a:prstGeom>
          <a:solidFill>
            <a:srgbClr val="9C1C26"/>
          </a:solidFill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7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2254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A71A8C1-12FA-4B4C-A17A-F96D87877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estions</a:t>
            </a:r>
            <a:r>
              <a:rPr lang="de-DE" dirty="0"/>
              <a:t>?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48B302-2755-45EF-972F-07BA61F58A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0FE2C8-DBE3-4DB5-BA7F-CC2DCACE5A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261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/>
              <a:t>B</a:t>
            </a:r>
            <a:r>
              <a:rPr lang="en-GB" dirty="0" err="1"/>
              <a:t>ibliography</a:t>
            </a:r>
            <a:endParaRPr lang="en-GB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AC2960-A02D-4ABE-A976-6419419048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9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8346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AGENDAWIZARD" val="&lt;ee4p&gt;&lt;layouts&gt;&lt;layout name=&quot;Line Circle&quot; id=&quot;1_6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8&quot; topMaxSpacing=&quot;15&quot; bottomMinSpacing=&quot;0&quot; bottomMaxSpacing=&quot;0&quot;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#D9D9D9&quot; visible=&quot;1&quot; /&gt;&lt;font bold=&quot;1&quot; color=&quot;13&quot; /&gt;&lt;/element&gt;&lt;element field=&quot;topic&quot; type=&quot;autoshape&quot; autoShapeType=&quot;1&quot; indent=&quot;(level-1)*36.50472*scale*fontScale&quot; indentType=&quot;2&quot;&gt;&lt;paragraphformat alignment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/element&gt;&lt;element field=&quot;freecolumn&quot; type=&quot;autoshape&quot; autoShapeType=&quot;1&quot; indent=&quot;(level-1)*36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8&quot; topMaxSpacing=&quot;15&quot; bottomMinSpacing=&quot;0&quot; bottomMaxSpacing=&quot;0&quot;&gt;&lt;element field=&quot;topic&quot; type=&quot;autoshape&quot; autoShapeType=&quot;1&quot; indent=&quot;(level-1)*36.50472*scale*fontScale&quot; indentType=&quot;2&quot;&gt;&lt;paragraphformat alignment=&quot;1&quot; /&gt;&lt;textframe marginLeft=&quot;6&quot; /&gt;&lt;font italic=&quot;1&quot; /&gt;&lt;/element&gt;&lt;element field=&quot;responsible&quot; type=&quot;autoshape&quot; autoShapeType=&quot;1&quot; indent=&quot;(level-1)*36.50472*scale*fontScale&quot; indentType=&quot;1&quot;&gt;&lt;paragraphformat alignment=&quot;1&quot; /&gt;&lt;font italic=&quot;1&quot; /&gt;&lt;/element&gt;&lt;element field=&quot;freecolumn&quot; type=&quot;autoshape&quot; autoShapeType=&quot;1&quot; indent=&quot;(level-1)*36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field=&quot;topic&quot; type=&quot;autoshape&quot; autoShapeType=&quot;1&quot; indent=&quot;(level-1)*36.50472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timeslot&quot; type=&quot;autoshape&quot; autoShapeType=&quot;1&quot;&gt;&lt;paragraphformat alignment=&quot;1&quot; /&gt;&lt;font bold=&quot;1&quot; italic=&quot;1&quot; /&gt;&lt;/element&gt;&lt;element field=&quot;pageno&quot; type=&quot;autoshape&quot; autoShapeType=&quot;1&quot;&gt;&lt;paragraphformat alignment=&quot;3&quot; /&gt;&lt;font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Content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6&quot; createSections=&quot;0&quot; singleSlideId=&quot;7a900d93-abe3-4754-afac-cd3d0448cf16&quot;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283.604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42183138-2ede-4c28-89dd-65682b1990a1&quot; parentId=&quot;&quot; level=&quot;1&quot; generateAgendaSlide=&quot;1&quot; showAgendaItem=&quot;1&quot; isBreak=&quot;0&quot; topic=&quot;Introduction &quot; agendaSlideId=&quot;b170f355-ddbb-4884-9950-547d2eed89cf&quot; /&gt;&lt;item duration=&quot;30&quot; id=&quot;c50e47ca-521b-473c-8b2b-1499681175cd&quot; parentId=&quot;&quot; level=&quot;1&quot; generateAgendaSlide=&quot;1&quot; showAgendaItem=&quot;1&quot; isBreak=&quot;0&quot; topic=&quot;Online Performance Estimation Framework&quot; agendaSlideId=&quot;9bff4cdd-6dc5-4177-9a1a-3b61de79f2fc&quot; /&gt;&lt;item duration=&quot;30&quot; id=&quot;600ff3fb-d214-4205-beef-5a2497c84f5e&quot; parentId=&quot;c50e47ca-521b-473c-8b2b-1499681175cd&quot; level=&quot;2&quot; generateAgendaSlide=&quot;0&quot; showAgendaItem=&quot;0&quot; isBreak=&quot;0&quot; topic=&quot;Developments before Online Performance Estimation Framework&quot; /&gt;&lt;item duration=&quot;30&quot; id=&quot;90b25b16-fc93-4784-a9d0-caa7bed4f8b8&quot; parentId=&quot;c50e47ca-521b-473c-8b2b-1499681175cd&quot; level=&quot;2&quot; generateAgendaSlide=&quot;0&quot; showAgendaItem=&quot;0&quot; isBreak=&quot;0&quot; topic=&quot;Online Performance Estimation&quot; agendaSlideId=&quot;&quot; /&gt;&lt;item duration=&quot;30&quot; id=&quot;bdf256f5-4b6b-4fcd-88b2-a6a2e7660a22&quot; parentId=&quot;c50e47ca-521b-473c-8b2b-1499681175cd&quot; level=&quot;2&quot; generateAgendaSlide=&quot;0&quot; showAgendaItem=&quot;0&quot; isBreak=&quot;0&quot; topic=&quot;Ensemble composition&quot; agendaSlideId=&quot;&quot; /&gt;&lt;item duration=&quot;30&quot; id=&quot;3ec6e9b2-e730-4219-b4ac-2f1cf6827817&quot; parentId=&quot;c50e47ca-521b-473c-8b2b-1499681175cd&quot; level=&quot;2&quot; generateAgendaSlide=&quot;0&quot; showAgendaItem=&quot;0&quot; isBreak=&quot;0&quot; topic=&quot;BLAST&quot; agendaSlideId=&quot;&quot; /&gt;&lt;item duration=&quot;30&quot; id=&quot;18b16a7e-60d9-42f7-b375-c1b80a8250f1&quot; parentId=&quot;&quot; level=&quot;1&quot; generateAgendaSlide=&quot;1&quot; showAgendaItem=&quot;1&quot; isBreak=&quot;0&quot; topic=&quot;Study results&quot; agendaSlideId=&quot;3939340f-564f-4f94-be0f-7fbc2dd5b862&quot; /&gt;&lt;item duration=&quot;30&quot; id=&quot;4db3c9ac-9f54-4f51-a54f-7fc0cb0996a7&quot; parentId=&quot;&quot; level=&quot;1&quot; generateAgendaSlide=&quot;1&quot; showAgendaItem=&quot;1&quot; isBreak=&quot;0&quot; topic=&quot;Summary and outlook&quot; agendaSlideId=&quot;43b7c8d8-94c6-4933-a4bd-d380f3d9e9d2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0"/>
</p:tagLst>
</file>

<file path=ppt/theme/theme1.xml><?xml version="1.0" encoding="utf-8"?>
<a:theme xmlns:a="http://schemas.openxmlformats.org/drawingml/2006/main" name="Präsentationsvorlage_BWL9">
  <a:themeElements>
    <a:clrScheme name="v1_TUD_Präsentation_r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WL9</Template>
  <TotalTime>0</TotalTime>
  <Words>260</Words>
  <Application>Microsoft Office PowerPoint</Application>
  <PresentationFormat>On-screen Show (4:3)</PresentationFormat>
  <Paragraphs>57</Paragraphs>
  <Slides>10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ＭＳ Ｐゴシック</vt:lpstr>
      <vt:lpstr>Arial</vt:lpstr>
      <vt:lpstr>Bitstream Charter</vt:lpstr>
      <vt:lpstr>Stafford</vt:lpstr>
      <vt:lpstr>Tahoma</vt:lpstr>
      <vt:lpstr>Wingdings</vt:lpstr>
      <vt:lpstr>Präsentationsvorlage_BWL9</vt:lpstr>
      <vt:lpstr>Semantic Segmentation with PixelNet on CityScapes</vt:lpstr>
      <vt:lpstr>The Importance of Semantic Segmentation</vt:lpstr>
      <vt:lpstr>PixelNet</vt:lpstr>
      <vt:lpstr>Our approach</vt:lpstr>
      <vt:lpstr>Results</vt:lpstr>
      <vt:lpstr>Results(2)</vt:lpstr>
      <vt:lpstr>Outlook</vt:lpstr>
      <vt:lpstr>questions?</vt:lpstr>
      <vt:lpstr>Bibliography</vt:lpstr>
      <vt:lpstr>Image 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Alina D</cp:lastModifiedBy>
  <cp:revision>473</cp:revision>
  <dcterms:created xsi:type="dcterms:W3CDTF">2009-12-23T09:42:49Z</dcterms:created>
  <dcterms:modified xsi:type="dcterms:W3CDTF">2018-08-23T15:27:19Z</dcterms:modified>
</cp:coreProperties>
</file>